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7.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8.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7.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37.xml" ContentType="application/vnd.openxmlformats-officedocument.presentationml.tags+xml"/>
  <Override PartName="/ppt/notesSlides/notesSlide4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3" r:id="rId20"/>
    <p:sldMasterId id="2147483891" r:id="rId21"/>
    <p:sldMasterId id="2147483986" r:id="rId22"/>
    <p:sldMasterId id="2147484037" r:id="rId23"/>
    <p:sldMasterId id="2147484085" r:id="rId24"/>
    <p:sldMasterId id="2147484130" r:id="rId25"/>
    <p:sldMasterId id="2147484185" r:id="rId26"/>
    <p:sldMasterId id="2147484195" r:id="rId27"/>
    <p:sldMasterId id="2147484201" r:id="rId28"/>
  </p:sldMasterIdLst>
  <p:notesMasterIdLst>
    <p:notesMasterId r:id="rId88"/>
  </p:notesMasterIdLst>
  <p:handoutMasterIdLst>
    <p:handoutMasterId r:id="rId89"/>
  </p:handoutMasterIdLst>
  <p:sldIdLst>
    <p:sldId id="260" r:id="rId29"/>
    <p:sldId id="258" r:id="rId30"/>
    <p:sldId id="562" r:id="rId31"/>
    <p:sldId id="561" r:id="rId32"/>
    <p:sldId id="534" r:id="rId33"/>
    <p:sldId id="1602" r:id="rId34"/>
    <p:sldId id="257" r:id="rId35"/>
    <p:sldId id="461" r:id="rId36"/>
    <p:sldId id="605" r:id="rId37"/>
    <p:sldId id="606" r:id="rId38"/>
    <p:sldId id="327" r:id="rId39"/>
    <p:sldId id="1499" r:id="rId40"/>
    <p:sldId id="531" r:id="rId41"/>
    <p:sldId id="1502" r:id="rId42"/>
    <p:sldId id="1503" r:id="rId43"/>
    <p:sldId id="2103813182" r:id="rId44"/>
    <p:sldId id="2103813192" r:id="rId45"/>
    <p:sldId id="608" r:id="rId46"/>
    <p:sldId id="609" r:id="rId47"/>
    <p:sldId id="616" r:id="rId48"/>
    <p:sldId id="1593" r:id="rId49"/>
    <p:sldId id="560" r:id="rId50"/>
    <p:sldId id="563" r:id="rId51"/>
    <p:sldId id="564" r:id="rId52"/>
    <p:sldId id="565" r:id="rId53"/>
    <p:sldId id="1501" r:id="rId54"/>
    <p:sldId id="622" r:id="rId55"/>
    <p:sldId id="623" r:id="rId56"/>
    <p:sldId id="2103813183" r:id="rId57"/>
    <p:sldId id="612" r:id="rId58"/>
    <p:sldId id="1596" r:id="rId59"/>
    <p:sldId id="1597" r:id="rId60"/>
    <p:sldId id="620" r:id="rId61"/>
    <p:sldId id="2103813177" r:id="rId62"/>
    <p:sldId id="2103813178" r:id="rId63"/>
    <p:sldId id="2103813179" r:id="rId64"/>
    <p:sldId id="2103813180" r:id="rId65"/>
    <p:sldId id="2103813186" r:id="rId66"/>
    <p:sldId id="2103813185" r:id="rId67"/>
    <p:sldId id="2103813191" r:id="rId68"/>
    <p:sldId id="569" r:id="rId69"/>
    <p:sldId id="585" r:id="rId70"/>
    <p:sldId id="586" r:id="rId71"/>
    <p:sldId id="652" r:id="rId72"/>
    <p:sldId id="653" r:id="rId73"/>
    <p:sldId id="654" r:id="rId74"/>
    <p:sldId id="656" r:id="rId75"/>
    <p:sldId id="657" r:id="rId76"/>
    <p:sldId id="1595" r:id="rId77"/>
    <p:sldId id="645" r:id="rId78"/>
    <p:sldId id="628" r:id="rId79"/>
    <p:sldId id="629" r:id="rId80"/>
    <p:sldId id="659" r:id="rId81"/>
    <p:sldId id="666" r:id="rId82"/>
    <p:sldId id="658" r:id="rId83"/>
    <p:sldId id="589" r:id="rId84"/>
    <p:sldId id="590" r:id="rId85"/>
    <p:sldId id="591" r:id="rId86"/>
    <p:sldId id="259" r:id="rId87"/>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Index Internals" id="{25ADF4C8-2200-4410-9F45-B05F5BA6D4E6}">
          <p14:sldIdLst>
            <p14:sldId id="561"/>
            <p14:sldId id="534"/>
            <p14:sldId id="1602"/>
            <p14:sldId id="257"/>
            <p14:sldId id="461"/>
            <p14:sldId id="605"/>
            <p14:sldId id="606"/>
            <p14:sldId id="327"/>
            <p14:sldId id="1499"/>
            <p14:sldId id="531"/>
            <p14:sldId id="1502"/>
            <p14:sldId id="1503"/>
            <p14:sldId id="2103813182"/>
            <p14:sldId id="2103813192"/>
            <p14:sldId id="608"/>
            <p14:sldId id="609"/>
            <p14:sldId id="616"/>
            <p14:sldId id="1593"/>
            <p14:sldId id="560"/>
            <p14:sldId id="563"/>
          </p14:sldIdLst>
        </p14:section>
        <p14:section name="Lesson 2: Index Strategy" id="{6F639A05-2893-48A9-A600-6681E43668C4}">
          <p14:sldIdLst>
            <p14:sldId id="564"/>
            <p14:sldId id="565"/>
            <p14:sldId id="1501"/>
            <p14:sldId id="622"/>
            <p14:sldId id="623"/>
            <p14:sldId id="2103813183"/>
            <p14:sldId id="612"/>
            <p14:sldId id="1596"/>
            <p14:sldId id="1597"/>
            <p14:sldId id="620"/>
            <p14:sldId id="2103813177"/>
            <p14:sldId id="2103813178"/>
            <p14:sldId id="2103813179"/>
            <p14:sldId id="2103813180"/>
            <p14:sldId id="2103813186"/>
            <p14:sldId id="2103813185"/>
            <p14:sldId id="2103813191"/>
            <p14:sldId id="569"/>
          </p14:sldIdLst>
        </p14:section>
        <p14:section name="Lesson 3: Index Monitoring and Fragmentation" id="{116884A5-6A67-4FED-B1AB-448E0EBD0925}">
          <p14:sldIdLst>
            <p14:sldId id="585"/>
            <p14:sldId id="586"/>
            <p14:sldId id="652"/>
            <p14:sldId id="653"/>
            <p14:sldId id="654"/>
            <p14:sldId id="656"/>
            <p14:sldId id="657"/>
            <p14:sldId id="1595"/>
            <p14:sldId id="645"/>
            <p14:sldId id="628"/>
            <p14:sldId id="629"/>
            <p14:sldId id="659"/>
            <p14:sldId id="666"/>
            <p14:sldId id="658"/>
            <p14:sldId id="589"/>
            <p14:sldId id="590"/>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1080D7"/>
    <a:srgbClr val="CFC0E8"/>
    <a:srgbClr val="91ABD5"/>
    <a:srgbClr val="CFE5F7"/>
    <a:srgbClr val="3091DC"/>
    <a:srgbClr val="666666"/>
    <a:srgbClr val="00569B"/>
    <a:srgbClr val="D1D3D6"/>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4CACB9-552D-4CC6-9989-08C42B64F346}" v="67" dt="2024-01-31T18:31:08.1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297" autoAdjust="0"/>
    <p:restoredTop sz="71046" autoAdjust="0"/>
  </p:normalViewPr>
  <p:slideViewPr>
    <p:cSldViewPr snapToGrid="0">
      <p:cViewPr varScale="1">
        <p:scale>
          <a:sx n="80" d="100"/>
          <a:sy n="80" d="100"/>
        </p:scale>
        <p:origin x="40"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7.xml"/><Relationship Id="rId21" Type="http://schemas.openxmlformats.org/officeDocument/2006/relationships/slideMaster" Target="slideMasters/slideMaster2.xml"/><Relationship Id="rId42" Type="http://schemas.openxmlformats.org/officeDocument/2006/relationships/slide" Target="slides/slide14.xml"/><Relationship Id="rId47" Type="http://schemas.openxmlformats.org/officeDocument/2006/relationships/slide" Target="slides/slide19.xml"/><Relationship Id="rId63" Type="http://schemas.openxmlformats.org/officeDocument/2006/relationships/slide" Target="slides/slide35.xml"/><Relationship Id="rId68" Type="http://schemas.openxmlformats.org/officeDocument/2006/relationships/slide" Target="slides/slide40.xml"/><Relationship Id="rId84" Type="http://schemas.openxmlformats.org/officeDocument/2006/relationships/slide" Target="slides/slide56.xml"/><Relationship Id="rId89" Type="http://schemas.openxmlformats.org/officeDocument/2006/relationships/handoutMaster" Target="handoutMasters/handoutMaster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4.xml"/><Relationship Id="rId37" Type="http://schemas.openxmlformats.org/officeDocument/2006/relationships/slide" Target="slides/slide9.xml"/><Relationship Id="rId53" Type="http://schemas.openxmlformats.org/officeDocument/2006/relationships/slide" Target="slides/slide25.xml"/><Relationship Id="rId58" Type="http://schemas.openxmlformats.org/officeDocument/2006/relationships/slide" Target="slides/slide30.xml"/><Relationship Id="rId74" Type="http://schemas.openxmlformats.org/officeDocument/2006/relationships/slide" Target="slides/slide46.xml"/><Relationship Id="rId79" Type="http://schemas.openxmlformats.org/officeDocument/2006/relationships/slide" Target="slides/slide51.xml"/><Relationship Id="rId5" Type="http://schemas.openxmlformats.org/officeDocument/2006/relationships/customXml" Target="../customXml/item5.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Master" Target="slideMasters/slideMaster3.xml"/><Relationship Id="rId27" Type="http://schemas.openxmlformats.org/officeDocument/2006/relationships/slideMaster" Target="slideMasters/slideMaster8.xml"/><Relationship Id="rId43" Type="http://schemas.openxmlformats.org/officeDocument/2006/relationships/slide" Target="slides/slide15.xml"/><Relationship Id="rId48" Type="http://schemas.openxmlformats.org/officeDocument/2006/relationships/slide" Target="slides/slide20.xml"/><Relationship Id="rId64" Type="http://schemas.openxmlformats.org/officeDocument/2006/relationships/slide" Target="slides/slide36.xml"/><Relationship Id="rId69" Type="http://schemas.openxmlformats.org/officeDocument/2006/relationships/slide" Target="slides/slide41.xml"/><Relationship Id="rId80" Type="http://schemas.openxmlformats.org/officeDocument/2006/relationships/slide" Target="slides/slide52.xml"/><Relationship Id="rId85" Type="http://schemas.openxmlformats.org/officeDocument/2006/relationships/slide" Target="slides/slide5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6.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slide" Target="slides/slide31.xml"/><Relationship Id="rId67" Type="http://schemas.openxmlformats.org/officeDocument/2006/relationships/slide" Target="slides/slide39.xml"/><Relationship Id="rId20" Type="http://schemas.openxmlformats.org/officeDocument/2006/relationships/slideMaster" Target="slideMasters/slideMaster1.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slide" Target="slides/slide34.xml"/><Relationship Id="rId70" Type="http://schemas.openxmlformats.org/officeDocument/2006/relationships/slide" Target="slides/slide42.xml"/><Relationship Id="rId75" Type="http://schemas.openxmlformats.org/officeDocument/2006/relationships/slide" Target="slides/slide47.xml"/><Relationship Id="rId83" Type="http://schemas.openxmlformats.org/officeDocument/2006/relationships/slide" Target="slides/slide55.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4.xml"/><Relationship Id="rId28" Type="http://schemas.openxmlformats.org/officeDocument/2006/relationships/slideMaster" Target="slideMasters/slideMaster9.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10" Type="http://schemas.openxmlformats.org/officeDocument/2006/relationships/customXml" Target="../customXml/item10.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slide" Target="slides/slide37.xml"/><Relationship Id="rId73" Type="http://schemas.openxmlformats.org/officeDocument/2006/relationships/slide" Target="slides/slide45.xml"/><Relationship Id="rId78" Type="http://schemas.openxmlformats.org/officeDocument/2006/relationships/slide" Target="slides/slide50.xml"/><Relationship Id="rId81" Type="http://schemas.openxmlformats.org/officeDocument/2006/relationships/slide" Target="slides/slide53.xml"/><Relationship Id="rId86" Type="http://schemas.openxmlformats.org/officeDocument/2006/relationships/slide" Target="slides/slide58.xml"/><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1.xml"/><Relationship Id="rId34" Type="http://schemas.openxmlformats.org/officeDocument/2006/relationships/slide" Target="slides/slide6.xml"/><Relationship Id="rId50" Type="http://schemas.openxmlformats.org/officeDocument/2006/relationships/slide" Target="slides/slide22.xml"/><Relationship Id="rId55" Type="http://schemas.openxmlformats.org/officeDocument/2006/relationships/slide" Target="slides/slide27.xml"/><Relationship Id="rId76" Type="http://schemas.openxmlformats.org/officeDocument/2006/relationships/slide" Target="slides/slide48.xml"/><Relationship Id="rId97"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slide" Target="slides/slide43.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xml"/><Relationship Id="rId24" Type="http://schemas.openxmlformats.org/officeDocument/2006/relationships/slideMaster" Target="slideMasters/slideMaster5.xml"/><Relationship Id="rId40" Type="http://schemas.openxmlformats.org/officeDocument/2006/relationships/slide" Target="slides/slide12.xml"/><Relationship Id="rId45" Type="http://schemas.openxmlformats.org/officeDocument/2006/relationships/slide" Target="slides/slide17.xml"/><Relationship Id="rId66" Type="http://schemas.openxmlformats.org/officeDocument/2006/relationships/slide" Target="slides/slide38.xml"/><Relationship Id="rId87" Type="http://schemas.openxmlformats.org/officeDocument/2006/relationships/slide" Target="slides/slide59.xml"/><Relationship Id="rId61" Type="http://schemas.openxmlformats.org/officeDocument/2006/relationships/slide" Target="slides/slide33.xml"/><Relationship Id="rId82" Type="http://schemas.openxmlformats.org/officeDocument/2006/relationships/slide" Target="slides/slide5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2.xml"/><Relationship Id="rId35" Type="http://schemas.openxmlformats.org/officeDocument/2006/relationships/slide" Target="slides/slide7.xml"/><Relationship Id="rId56" Type="http://schemas.openxmlformats.org/officeDocument/2006/relationships/slide" Target="slides/slide28.xml"/><Relationship Id="rId77" Type="http://schemas.openxmlformats.org/officeDocument/2006/relationships/slide" Target="slides/slide49.xml"/><Relationship Id="rId8" Type="http://schemas.openxmlformats.org/officeDocument/2006/relationships/customXml" Target="../customXml/item8.xml"/><Relationship Id="rId51" Type="http://schemas.openxmlformats.org/officeDocument/2006/relationships/slide" Target="slides/slide23.xml"/><Relationship Id="rId72" Type="http://schemas.openxmlformats.org/officeDocument/2006/relationships/slide" Target="slides/slide44.xml"/><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A4CACB9-552D-4CC6-9989-08C42B64F346}"/>
    <pc:docChg chg="delSld modSld modSection">
      <pc:chgData name="John Deardurff" userId="a22eae058e899168" providerId="LiveId" clId="{7A4CACB9-552D-4CC6-9989-08C42B64F346}" dt="2024-02-01T16:43:43.593" v="132" actId="729"/>
      <pc:docMkLst>
        <pc:docMk/>
      </pc:docMkLst>
      <pc:sldChg chg="del">
        <pc:chgData name="John Deardurff" userId="a22eae058e899168" providerId="LiveId" clId="{7A4CACB9-552D-4CC6-9989-08C42B64F346}" dt="2024-01-31T18:32:50.705" v="102" actId="2696"/>
        <pc:sldMkLst>
          <pc:docMk/>
          <pc:sldMk cId="1706074310" sldId="624"/>
        </pc:sldMkLst>
      </pc:sldChg>
      <pc:sldChg chg="modSp mod">
        <pc:chgData name="John Deardurff" userId="a22eae058e899168" providerId="LiveId" clId="{7A4CACB9-552D-4CC6-9989-08C42B64F346}" dt="2024-02-01T16:04:38.233" v="131" actId="6549"/>
        <pc:sldMkLst>
          <pc:docMk/>
          <pc:sldMk cId="2471988427" sldId="656"/>
        </pc:sldMkLst>
        <pc:spChg chg="mod">
          <ac:chgData name="John Deardurff" userId="a22eae058e899168" providerId="LiveId" clId="{7A4CACB9-552D-4CC6-9989-08C42B64F346}" dt="2024-02-01T16:04:38.233" v="131" actId="6549"/>
          <ac:spMkLst>
            <pc:docMk/>
            <pc:sldMk cId="2471988427" sldId="656"/>
            <ac:spMk id="4" creationId="{F3616A99-090F-45E1-9334-58D58B148205}"/>
          </ac:spMkLst>
        </pc:spChg>
      </pc:sldChg>
      <pc:sldChg chg="modSp">
        <pc:chgData name="John Deardurff" userId="a22eae058e899168" providerId="LiveId" clId="{7A4CACB9-552D-4CC6-9989-08C42B64F346}" dt="2024-01-31T08:09:46.787" v="62" actId="20577"/>
        <pc:sldMkLst>
          <pc:docMk/>
          <pc:sldMk cId="1230464535" sldId="1502"/>
        </pc:sldMkLst>
        <pc:graphicFrameChg chg="mod">
          <ac:chgData name="John Deardurff" userId="a22eae058e899168" providerId="LiveId" clId="{7A4CACB9-552D-4CC6-9989-08C42B64F346}" dt="2024-01-31T08:09:46.787" v="62" actId="20577"/>
          <ac:graphicFrameMkLst>
            <pc:docMk/>
            <pc:sldMk cId="1230464535" sldId="1502"/>
            <ac:graphicFrameMk id="3" creationId="{F9DF2724-B7D1-4FAD-9393-A5E7D8A68177}"/>
          </ac:graphicFrameMkLst>
        </pc:graphicFrameChg>
      </pc:sldChg>
      <pc:sldChg chg="mod modShow">
        <pc:chgData name="John Deardurff" userId="a22eae058e899168" providerId="LiveId" clId="{7A4CACB9-552D-4CC6-9989-08C42B64F346}" dt="2024-02-01T16:43:43.593" v="132" actId="729"/>
        <pc:sldMkLst>
          <pc:docMk/>
          <pc:sldMk cId="2781550291" sldId="2103813185"/>
        </pc:sldMkLst>
      </pc:sldChg>
      <pc:sldChg chg="mod modShow">
        <pc:chgData name="John Deardurff" userId="a22eae058e899168" providerId="LiveId" clId="{7A4CACB9-552D-4CC6-9989-08C42B64F346}" dt="2024-01-31T18:33:09.295" v="104" actId="729"/>
        <pc:sldMkLst>
          <pc:docMk/>
          <pc:sldMk cId="3769633906" sldId="2103813191"/>
        </pc:sldMkLst>
      </pc:sldChg>
      <pc:sldChg chg="modSp mod">
        <pc:chgData name="John Deardurff" userId="a22eae058e899168" providerId="LiveId" clId="{7A4CACB9-552D-4CC6-9989-08C42B64F346}" dt="2024-01-31T18:31:30.176" v="101" actId="122"/>
        <pc:sldMkLst>
          <pc:docMk/>
          <pc:sldMk cId="3078449028" sldId="2103813192"/>
        </pc:sldMkLst>
        <pc:spChg chg="mod">
          <ac:chgData name="John Deardurff" userId="a22eae058e899168" providerId="LiveId" clId="{7A4CACB9-552D-4CC6-9989-08C42B64F346}" dt="2024-01-31T18:31:30.176" v="101" actId="122"/>
          <ac:spMkLst>
            <pc:docMk/>
            <pc:sldMk cId="3078449028" sldId="2103813192"/>
            <ac:spMk id="6" creationId="{B4462B21-232E-F904-8A2F-DFD0B519FAB9}"/>
          </ac:spMkLst>
        </pc:spChg>
      </pc:sldChg>
    </pc:docChg>
  </pc:docChgLst>
  <pc:docChgLst>
    <pc:chgData name="John Deardurff" userId="1176b27f-6749-4904-a052-7c732238bc52" providerId="ADAL" clId="{F9BBA15F-C78B-4106-9240-81CC30FA98BC}"/>
    <pc:docChg chg="delSld modSection">
      <pc:chgData name="John Deardurff" userId="1176b27f-6749-4904-a052-7c732238bc52" providerId="ADAL" clId="{F9BBA15F-C78B-4106-9240-81CC30FA98BC}" dt="2023-12-04T13:26:37.400" v="0" actId="47"/>
      <pc:docMkLst>
        <pc:docMk/>
      </pc:docMkLst>
      <pc:sldChg chg="del">
        <pc:chgData name="John Deardurff" userId="1176b27f-6749-4904-a052-7c732238bc52" providerId="ADAL" clId="{F9BBA15F-C78B-4106-9240-81CC30FA98BC}" dt="2023-12-04T13:26:37.400" v="0" actId="47"/>
        <pc:sldMkLst>
          <pc:docMk/>
          <pc:sldMk cId="3410801244" sldId="2103813185"/>
        </pc:sldMkLst>
      </pc:sldChg>
      <pc:sldChg chg="del">
        <pc:chgData name="John Deardurff" userId="1176b27f-6749-4904-a052-7c732238bc52" providerId="ADAL" clId="{F9BBA15F-C78B-4106-9240-81CC30FA98BC}" dt="2023-12-04T13:26:37.400" v="0" actId="47"/>
        <pc:sldMkLst>
          <pc:docMk/>
          <pc:sldMk cId="3769633906" sldId="2103813191"/>
        </pc:sldMkLst>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ata5.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5.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41556ACD-E1A5-4B29-9504-D8AEB7027567}">
      <dgm:prSet/>
      <dgm:spPr/>
      <dgm:t>
        <a:bodyPr/>
        <a:lstStyle/>
        <a:p>
          <a:r>
            <a:rPr lang="en-US" b="0" i="0" dirty="0"/>
            <a:t>An index is an on-disk structure associated with a table that speeds retrieval of rows.</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0" i="0" dirty="0"/>
            <a:t>An index contains keys built from one or more columns in the table.</a:t>
          </a:r>
          <a:endParaRPr lang="en-US" dirty="0"/>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F295D1-9495-434A-ACDE-B09239C271C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DD1C4F13-9FC4-486B-91FB-D2E3781CFB6C}">
      <dgm:prSet custT="1"/>
      <dgm:spPr/>
      <dgm:t>
        <a:bodyPr/>
        <a:lstStyle/>
        <a:p>
          <a:r>
            <a:rPr lang="en-US" sz="2400" baseline="0" dirty="0"/>
            <a:t>Frequently, clustering on the primary key supports the clustered index best practices </a:t>
          </a:r>
          <a:endParaRPr lang="en-US" sz="2400" dirty="0"/>
        </a:p>
      </dgm:t>
    </dgm:pt>
    <dgm:pt modelId="{64CC6276-EE0E-4816-9172-152B5B247414}" type="parTrans" cxnId="{49D5AC7D-AF2F-49BA-9207-56C52A9C988F}">
      <dgm:prSet/>
      <dgm:spPr/>
      <dgm:t>
        <a:bodyPr/>
        <a:lstStyle/>
        <a:p>
          <a:endParaRPr lang="en-US"/>
        </a:p>
      </dgm:t>
    </dgm:pt>
    <dgm:pt modelId="{1B4874DD-54E1-4EE9-A7E7-2C4662B25B82}" type="sibTrans" cxnId="{49D5AC7D-AF2F-49BA-9207-56C52A9C988F}">
      <dgm:prSet/>
      <dgm:spPr/>
      <dgm:t>
        <a:bodyPr/>
        <a:lstStyle/>
        <a:p>
          <a:endParaRPr lang="en-US"/>
        </a:p>
      </dgm:t>
    </dgm:pt>
    <dgm:pt modelId="{2D42EFAF-3975-4A3A-B5A2-2077753EE229}">
      <dgm:prSet custT="1"/>
      <dgm:spPr/>
      <dgm:t>
        <a:bodyPr/>
        <a:lstStyle/>
        <a:p>
          <a:r>
            <a:rPr lang="en-US" sz="2000" baseline="0" dirty="0"/>
            <a:t>Primary keys are involved in joins to foreign keys</a:t>
          </a:r>
          <a:endParaRPr lang="en-US" sz="2000" dirty="0"/>
        </a:p>
      </dgm:t>
    </dgm:pt>
    <dgm:pt modelId="{6D9D9BED-EF60-4FB5-8E3C-7106D19470DB}" type="parTrans" cxnId="{7114ED15-35F6-4D36-9142-8CE86206E879}">
      <dgm:prSet/>
      <dgm:spPr/>
      <dgm:t>
        <a:bodyPr/>
        <a:lstStyle/>
        <a:p>
          <a:endParaRPr lang="en-US"/>
        </a:p>
      </dgm:t>
    </dgm:pt>
    <dgm:pt modelId="{0FC9CB30-2DC0-4138-9390-2A50E002690E}" type="sibTrans" cxnId="{7114ED15-35F6-4D36-9142-8CE86206E879}">
      <dgm:prSet/>
      <dgm:spPr/>
      <dgm:t>
        <a:bodyPr/>
        <a:lstStyle/>
        <a:p>
          <a:endParaRPr lang="en-US"/>
        </a:p>
      </dgm:t>
    </dgm:pt>
    <dgm:pt modelId="{0239D5E1-3BBD-4386-9395-F1AF465C356D}">
      <dgm:prSet custT="1"/>
      <dgm:spPr/>
      <dgm:t>
        <a:bodyPr/>
        <a:lstStyle/>
        <a:p>
          <a:r>
            <a:rPr lang="en-US" sz="2000" baseline="0" dirty="0"/>
            <a:t>Primary keys are unique</a:t>
          </a:r>
          <a:endParaRPr lang="en-US" sz="2000" dirty="0"/>
        </a:p>
      </dgm:t>
    </dgm:pt>
    <dgm:pt modelId="{CBDAA1F9-4092-4277-847D-0E6773FD2C84}" type="parTrans" cxnId="{44C2D8E8-CCEE-4B57-8656-1D77264E4028}">
      <dgm:prSet/>
      <dgm:spPr/>
      <dgm:t>
        <a:bodyPr/>
        <a:lstStyle/>
        <a:p>
          <a:endParaRPr lang="en-US"/>
        </a:p>
      </dgm:t>
    </dgm:pt>
    <dgm:pt modelId="{53E3366E-CAC7-4C89-9FA8-59ADDCBD6A08}" type="sibTrans" cxnId="{44C2D8E8-CCEE-4B57-8656-1D77264E4028}">
      <dgm:prSet/>
      <dgm:spPr/>
      <dgm:t>
        <a:bodyPr/>
        <a:lstStyle/>
        <a:p>
          <a:endParaRPr lang="en-US"/>
        </a:p>
      </dgm:t>
    </dgm:pt>
    <dgm:pt modelId="{9C6ADCDC-715E-4235-BC0A-4E380E60CA57}">
      <dgm:prSet custT="1"/>
      <dgm:spPr/>
      <dgm:t>
        <a:bodyPr/>
        <a:lstStyle/>
        <a:p>
          <a:r>
            <a:rPr lang="en-US" sz="2000" baseline="0" dirty="0"/>
            <a:t>Primary keys are typically ascending</a:t>
          </a:r>
          <a:endParaRPr lang="en-US" sz="2000" dirty="0"/>
        </a:p>
      </dgm:t>
    </dgm:pt>
    <dgm:pt modelId="{D5F2B347-2211-4F6E-8342-7E4431B8558E}" type="parTrans" cxnId="{8431FBA7-A20C-4BB7-9790-89512FF7FA31}">
      <dgm:prSet/>
      <dgm:spPr/>
      <dgm:t>
        <a:bodyPr/>
        <a:lstStyle/>
        <a:p>
          <a:endParaRPr lang="en-US"/>
        </a:p>
      </dgm:t>
    </dgm:pt>
    <dgm:pt modelId="{FF33BD2F-D60A-4F23-B375-11572ACD4CA1}" type="sibTrans" cxnId="{8431FBA7-A20C-4BB7-9790-89512FF7FA31}">
      <dgm:prSet/>
      <dgm:spPr/>
      <dgm:t>
        <a:bodyPr/>
        <a:lstStyle/>
        <a:p>
          <a:endParaRPr lang="en-US"/>
        </a:p>
      </dgm:t>
    </dgm:pt>
    <dgm:pt modelId="{A1065AE8-CB36-4F21-878D-A464BB548BBB}">
      <dgm:prSet custT="1"/>
      <dgm:spPr/>
      <dgm:t>
        <a:bodyPr/>
        <a:lstStyle/>
        <a:p>
          <a:r>
            <a:rPr lang="en-US" sz="2000" baseline="0" dirty="0"/>
            <a:t>Primary keys are typically not updated</a:t>
          </a:r>
          <a:endParaRPr lang="en-US" sz="2000" dirty="0"/>
        </a:p>
      </dgm:t>
    </dgm:pt>
    <dgm:pt modelId="{40746178-96B7-4178-BA54-791C9FD039AA}" type="parTrans" cxnId="{71A75A16-24B2-4B43-894E-B226AEC37543}">
      <dgm:prSet/>
      <dgm:spPr/>
      <dgm:t>
        <a:bodyPr/>
        <a:lstStyle/>
        <a:p>
          <a:endParaRPr lang="en-US"/>
        </a:p>
      </dgm:t>
    </dgm:pt>
    <dgm:pt modelId="{B6B8D920-632B-48A4-AE02-63B1AAAE9DD5}" type="sibTrans" cxnId="{71A75A16-24B2-4B43-894E-B226AEC37543}">
      <dgm:prSet/>
      <dgm:spPr/>
      <dgm:t>
        <a:bodyPr/>
        <a:lstStyle/>
        <a:p>
          <a:endParaRPr lang="en-US"/>
        </a:p>
      </dgm:t>
    </dgm:pt>
    <dgm:pt modelId="{371D3977-141F-4BF0-B9EA-633D5BB69409}">
      <dgm:prSet custT="1"/>
      <dgm:spPr/>
      <dgm:t>
        <a:bodyPr/>
        <a:lstStyle/>
        <a:p>
          <a:r>
            <a:rPr lang="en-US" sz="2400" baseline="0" dirty="0"/>
            <a:t>Do not cluster on the Primary key IF:</a:t>
          </a:r>
          <a:endParaRPr lang="en-US" sz="2400" dirty="0"/>
        </a:p>
      </dgm:t>
    </dgm:pt>
    <dgm:pt modelId="{50FDAC76-F8FF-4045-A528-B019CB297FBE}" type="parTrans" cxnId="{1AD3CE01-A084-478F-B173-D8F4FE644C2F}">
      <dgm:prSet/>
      <dgm:spPr/>
      <dgm:t>
        <a:bodyPr/>
        <a:lstStyle/>
        <a:p>
          <a:endParaRPr lang="en-US"/>
        </a:p>
      </dgm:t>
    </dgm:pt>
    <dgm:pt modelId="{F52CDA41-6081-42B4-A6AA-C51B619A7F6B}" type="sibTrans" cxnId="{1AD3CE01-A084-478F-B173-D8F4FE644C2F}">
      <dgm:prSet/>
      <dgm:spPr/>
      <dgm:t>
        <a:bodyPr/>
        <a:lstStyle/>
        <a:p>
          <a:endParaRPr lang="en-US"/>
        </a:p>
      </dgm:t>
    </dgm:pt>
    <dgm:pt modelId="{048D4CC5-ED7C-4310-B812-228484C5207A}">
      <dgm:prSet custT="1"/>
      <dgm:spPr/>
      <dgm:t>
        <a:bodyPr/>
        <a:lstStyle/>
        <a:p>
          <a:r>
            <a:rPr lang="en-US" sz="2000" baseline="0" dirty="0"/>
            <a:t>When table is accessed by other keys than the primary key</a:t>
          </a:r>
          <a:endParaRPr lang="en-US" sz="2000" dirty="0"/>
        </a:p>
      </dgm:t>
    </dgm:pt>
    <dgm:pt modelId="{975F103A-4E35-4AC6-AD19-4694D08DCCF2}" type="parTrans" cxnId="{B899F9B1-04FB-430F-86AD-088CAC7B886F}">
      <dgm:prSet/>
      <dgm:spPr/>
      <dgm:t>
        <a:bodyPr/>
        <a:lstStyle/>
        <a:p>
          <a:endParaRPr lang="en-US"/>
        </a:p>
      </dgm:t>
    </dgm:pt>
    <dgm:pt modelId="{E487A8B6-1A5D-405C-B048-CE528E7FF69E}" type="sibTrans" cxnId="{B899F9B1-04FB-430F-86AD-088CAC7B886F}">
      <dgm:prSet/>
      <dgm:spPr/>
      <dgm:t>
        <a:bodyPr/>
        <a:lstStyle/>
        <a:p>
          <a:endParaRPr lang="en-US"/>
        </a:p>
      </dgm:t>
    </dgm:pt>
    <dgm:pt modelId="{1609C9F7-F4B3-44BB-BBB0-F3652566417F}">
      <dgm:prSet custT="1"/>
      <dgm:spPr/>
      <dgm:t>
        <a:bodyPr/>
        <a:lstStyle/>
        <a:p>
          <a:r>
            <a:rPr lang="en-US" sz="2000" dirty="0"/>
            <a:t>Query predicate use Primary Key</a:t>
          </a:r>
        </a:p>
      </dgm:t>
    </dgm:pt>
    <dgm:pt modelId="{7F4A7DE5-3685-48B9-95E1-11520F9090D7}" type="parTrans" cxnId="{8E954427-1E32-498D-BA2C-878880E64212}">
      <dgm:prSet/>
      <dgm:spPr/>
      <dgm:t>
        <a:bodyPr/>
        <a:lstStyle/>
        <a:p>
          <a:endParaRPr lang="en-US"/>
        </a:p>
      </dgm:t>
    </dgm:pt>
    <dgm:pt modelId="{56B78EF2-8DAB-403D-9668-FBE36ABE0E5E}" type="sibTrans" cxnId="{8E954427-1E32-498D-BA2C-878880E64212}">
      <dgm:prSet/>
      <dgm:spPr/>
      <dgm:t>
        <a:bodyPr/>
        <a:lstStyle/>
        <a:p>
          <a:endParaRPr lang="en-US"/>
        </a:p>
      </dgm:t>
    </dgm:pt>
    <dgm:pt modelId="{FB81EDA5-4273-45DF-9E09-869D5B2A71D5}">
      <dgm:prSet custT="1"/>
      <dgm:spPr/>
      <dgm:t>
        <a:bodyPr/>
        <a:lstStyle/>
        <a:p>
          <a:r>
            <a:rPr lang="en-US" sz="2000" dirty="0"/>
            <a:t>Common issue accessing association or child table, when these tables require different primary key than parent table</a:t>
          </a:r>
        </a:p>
      </dgm:t>
    </dgm:pt>
    <dgm:pt modelId="{A62B411E-F6D5-4F92-83D3-6F2B8486B777}" type="parTrans" cxnId="{22ECD1D3-DF05-4CBB-94CE-19E409781003}">
      <dgm:prSet/>
      <dgm:spPr/>
      <dgm:t>
        <a:bodyPr/>
        <a:lstStyle/>
        <a:p>
          <a:endParaRPr lang="en-US"/>
        </a:p>
      </dgm:t>
    </dgm:pt>
    <dgm:pt modelId="{0A65757F-5C77-4CB8-B9B3-1C46F2E8060F}" type="sibTrans" cxnId="{22ECD1D3-DF05-4CBB-94CE-19E409781003}">
      <dgm:prSet/>
      <dgm:spPr/>
      <dgm:t>
        <a:bodyPr/>
        <a:lstStyle/>
        <a:p>
          <a:endParaRPr lang="en-US"/>
        </a:p>
      </dgm:t>
    </dgm:pt>
    <dgm:pt modelId="{66704821-7248-43BE-B82A-87EC2C1731B6}">
      <dgm:prSet custT="1"/>
      <dgm:spPr/>
      <dgm:t>
        <a:bodyPr/>
        <a:lstStyle/>
        <a:p>
          <a:r>
            <a:rPr lang="en-US" sz="2000" baseline="0"/>
            <a:t>Use sys.dm_db_index_usage_stats to review data access patterns of index</a:t>
          </a:r>
          <a:endParaRPr lang="en-US" sz="2000" dirty="0"/>
        </a:p>
      </dgm:t>
    </dgm:pt>
    <dgm:pt modelId="{8A74600B-7385-4A3E-A2DC-3C1448B158CD}" type="parTrans" cxnId="{BB61EE6E-1AD7-4CA1-A918-FEF6E1861C99}">
      <dgm:prSet/>
      <dgm:spPr/>
      <dgm:t>
        <a:bodyPr/>
        <a:lstStyle/>
        <a:p>
          <a:endParaRPr lang="en-US"/>
        </a:p>
      </dgm:t>
    </dgm:pt>
    <dgm:pt modelId="{0BC50B3F-ECF6-49FD-BF75-74D690A9EA59}" type="sibTrans" cxnId="{BB61EE6E-1AD7-4CA1-A918-FEF6E1861C99}">
      <dgm:prSet/>
      <dgm:spPr/>
      <dgm:t>
        <a:bodyPr/>
        <a:lstStyle/>
        <a:p>
          <a:endParaRPr lang="en-US"/>
        </a:p>
      </dgm:t>
    </dgm:pt>
    <dgm:pt modelId="{1F3A83D4-6249-49E9-9B7E-09B9B0FA5858}" type="pres">
      <dgm:prSet presAssocID="{69F295D1-9495-434A-ACDE-B09239C271C2}" presName="Name0" presStyleCnt="0">
        <dgm:presLayoutVars>
          <dgm:dir/>
          <dgm:animLvl val="lvl"/>
          <dgm:resizeHandles val="exact"/>
        </dgm:presLayoutVars>
      </dgm:prSet>
      <dgm:spPr/>
    </dgm:pt>
    <dgm:pt modelId="{0ED41FA7-CF40-41A8-8478-61A100DA76A2}" type="pres">
      <dgm:prSet presAssocID="{DD1C4F13-9FC4-486B-91FB-D2E3781CFB6C}" presName="composite" presStyleCnt="0"/>
      <dgm:spPr/>
    </dgm:pt>
    <dgm:pt modelId="{860BFC81-22E8-45D4-901A-23C691F6DEB9}" type="pres">
      <dgm:prSet presAssocID="{DD1C4F13-9FC4-486B-91FB-D2E3781CFB6C}" presName="parTx" presStyleLbl="alignNode1" presStyleIdx="0" presStyleCnt="2">
        <dgm:presLayoutVars>
          <dgm:chMax val="0"/>
          <dgm:chPref val="0"/>
          <dgm:bulletEnabled val="1"/>
        </dgm:presLayoutVars>
      </dgm:prSet>
      <dgm:spPr/>
    </dgm:pt>
    <dgm:pt modelId="{6AF58ACC-1A49-4713-A8CF-20B66EAA09E8}" type="pres">
      <dgm:prSet presAssocID="{DD1C4F13-9FC4-486B-91FB-D2E3781CFB6C}" presName="desTx" presStyleLbl="alignAccFollowNode1" presStyleIdx="0" presStyleCnt="2">
        <dgm:presLayoutVars>
          <dgm:bulletEnabled val="1"/>
        </dgm:presLayoutVars>
      </dgm:prSet>
      <dgm:spPr/>
    </dgm:pt>
    <dgm:pt modelId="{05F6E754-1249-41A9-8521-CC943A994D34}" type="pres">
      <dgm:prSet presAssocID="{1B4874DD-54E1-4EE9-A7E7-2C4662B25B82}" presName="space" presStyleCnt="0"/>
      <dgm:spPr/>
    </dgm:pt>
    <dgm:pt modelId="{50E9CBC8-1370-4E73-AF3B-03E9242989B0}" type="pres">
      <dgm:prSet presAssocID="{371D3977-141F-4BF0-B9EA-633D5BB69409}" presName="composite" presStyleCnt="0"/>
      <dgm:spPr/>
    </dgm:pt>
    <dgm:pt modelId="{C2D0EB96-AF50-4A35-A3DE-D8C7A53C0B87}" type="pres">
      <dgm:prSet presAssocID="{371D3977-141F-4BF0-B9EA-633D5BB69409}" presName="parTx" presStyleLbl="alignNode1" presStyleIdx="1" presStyleCnt="2">
        <dgm:presLayoutVars>
          <dgm:chMax val="0"/>
          <dgm:chPref val="0"/>
          <dgm:bulletEnabled val="1"/>
        </dgm:presLayoutVars>
      </dgm:prSet>
      <dgm:spPr/>
    </dgm:pt>
    <dgm:pt modelId="{EC2D2716-7AE0-4C46-9709-86BA3F5024B8}" type="pres">
      <dgm:prSet presAssocID="{371D3977-141F-4BF0-B9EA-633D5BB69409}" presName="desTx" presStyleLbl="alignAccFollowNode1" presStyleIdx="1" presStyleCnt="2">
        <dgm:presLayoutVars>
          <dgm:bulletEnabled val="1"/>
        </dgm:presLayoutVars>
      </dgm:prSet>
      <dgm:spPr/>
    </dgm:pt>
  </dgm:ptLst>
  <dgm:cxnLst>
    <dgm:cxn modelId="{1AD3CE01-A084-478F-B173-D8F4FE644C2F}" srcId="{69F295D1-9495-434A-ACDE-B09239C271C2}" destId="{371D3977-141F-4BF0-B9EA-633D5BB69409}" srcOrd="1" destOrd="0" parTransId="{50FDAC76-F8FF-4045-A528-B019CB297FBE}" sibTransId="{F52CDA41-6081-42B4-A6AA-C51B619A7F6B}"/>
    <dgm:cxn modelId="{7E5FF513-45C0-45BC-AB30-4FA942476594}" type="presOf" srcId="{048D4CC5-ED7C-4310-B812-228484C5207A}" destId="{EC2D2716-7AE0-4C46-9709-86BA3F5024B8}" srcOrd="0" destOrd="0" presId="urn:microsoft.com/office/officeart/2005/8/layout/hList1"/>
    <dgm:cxn modelId="{7114ED15-35F6-4D36-9142-8CE86206E879}" srcId="{DD1C4F13-9FC4-486B-91FB-D2E3781CFB6C}" destId="{2D42EFAF-3975-4A3A-B5A2-2077753EE229}" srcOrd="1" destOrd="0" parTransId="{6D9D9BED-EF60-4FB5-8E3C-7106D19470DB}" sibTransId="{0FC9CB30-2DC0-4138-9390-2A50E002690E}"/>
    <dgm:cxn modelId="{71A75A16-24B2-4B43-894E-B226AEC37543}" srcId="{DD1C4F13-9FC4-486B-91FB-D2E3781CFB6C}" destId="{A1065AE8-CB36-4F21-878D-A464BB548BBB}" srcOrd="4" destOrd="0" parTransId="{40746178-96B7-4178-BA54-791C9FD039AA}" sibTransId="{B6B8D920-632B-48A4-AE02-63B1AAAE9DD5}"/>
    <dgm:cxn modelId="{8E954427-1E32-498D-BA2C-878880E64212}" srcId="{DD1C4F13-9FC4-486B-91FB-D2E3781CFB6C}" destId="{1609C9F7-F4B3-44BB-BBB0-F3652566417F}" srcOrd="0" destOrd="0" parTransId="{7F4A7DE5-3685-48B9-95E1-11520F9090D7}" sibTransId="{56B78EF2-8DAB-403D-9668-FBE36ABE0E5E}"/>
    <dgm:cxn modelId="{FD01F45E-61B4-4DBE-A742-CFC26C5275E6}" type="presOf" srcId="{69F295D1-9495-434A-ACDE-B09239C271C2}" destId="{1F3A83D4-6249-49E9-9B7E-09B9B0FA5858}" srcOrd="0" destOrd="0" presId="urn:microsoft.com/office/officeart/2005/8/layout/hList1"/>
    <dgm:cxn modelId="{E7DEFE41-28B9-42B7-9172-6253F0C27CB7}" type="presOf" srcId="{371D3977-141F-4BF0-B9EA-633D5BB69409}" destId="{C2D0EB96-AF50-4A35-A3DE-D8C7A53C0B87}" srcOrd="0" destOrd="0" presId="urn:microsoft.com/office/officeart/2005/8/layout/hList1"/>
    <dgm:cxn modelId="{BB61EE6E-1AD7-4CA1-A918-FEF6E1861C99}" srcId="{371D3977-141F-4BF0-B9EA-633D5BB69409}" destId="{66704821-7248-43BE-B82A-87EC2C1731B6}" srcOrd="2" destOrd="0" parTransId="{8A74600B-7385-4A3E-A2DC-3C1448B158CD}" sibTransId="{0BC50B3F-ECF6-49FD-BF75-74D690A9EA59}"/>
    <dgm:cxn modelId="{FEC87B78-E446-4065-BA8C-1A6D42DA74D1}" type="presOf" srcId="{0239D5E1-3BBD-4386-9395-F1AF465C356D}" destId="{6AF58ACC-1A49-4713-A8CF-20B66EAA09E8}" srcOrd="0" destOrd="2" presId="urn:microsoft.com/office/officeart/2005/8/layout/hList1"/>
    <dgm:cxn modelId="{49D5AC7D-AF2F-49BA-9207-56C52A9C988F}" srcId="{69F295D1-9495-434A-ACDE-B09239C271C2}" destId="{DD1C4F13-9FC4-486B-91FB-D2E3781CFB6C}" srcOrd="0" destOrd="0" parTransId="{64CC6276-EE0E-4816-9172-152B5B247414}" sibTransId="{1B4874DD-54E1-4EE9-A7E7-2C4662B25B82}"/>
    <dgm:cxn modelId="{E3CB4282-1185-401C-ABBC-855B7C2A63DD}" type="presOf" srcId="{9C6ADCDC-715E-4235-BC0A-4E380E60CA57}" destId="{6AF58ACC-1A49-4713-A8CF-20B66EAA09E8}" srcOrd="0" destOrd="3" presId="urn:microsoft.com/office/officeart/2005/8/layout/hList1"/>
    <dgm:cxn modelId="{960E4F95-325B-4BF3-BF3C-F093C6DCFE31}" type="presOf" srcId="{DD1C4F13-9FC4-486B-91FB-D2E3781CFB6C}" destId="{860BFC81-22E8-45D4-901A-23C691F6DEB9}" srcOrd="0" destOrd="0" presId="urn:microsoft.com/office/officeart/2005/8/layout/hList1"/>
    <dgm:cxn modelId="{8431FBA7-A20C-4BB7-9790-89512FF7FA31}" srcId="{DD1C4F13-9FC4-486B-91FB-D2E3781CFB6C}" destId="{9C6ADCDC-715E-4235-BC0A-4E380E60CA57}" srcOrd="3" destOrd="0" parTransId="{D5F2B347-2211-4F6E-8342-7E4431B8558E}" sibTransId="{FF33BD2F-D60A-4F23-B375-11572ACD4CA1}"/>
    <dgm:cxn modelId="{A2085BAF-ED15-47A5-A34B-4249EB361E87}" type="presOf" srcId="{FB81EDA5-4273-45DF-9E09-869D5B2A71D5}" destId="{EC2D2716-7AE0-4C46-9709-86BA3F5024B8}" srcOrd="0" destOrd="1" presId="urn:microsoft.com/office/officeart/2005/8/layout/hList1"/>
    <dgm:cxn modelId="{B899F9B1-04FB-430F-86AD-088CAC7B886F}" srcId="{371D3977-141F-4BF0-B9EA-633D5BB69409}" destId="{048D4CC5-ED7C-4310-B812-228484C5207A}" srcOrd="0" destOrd="0" parTransId="{975F103A-4E35-4AC6-AD19-4694D08DCCF2}" sibTransId="{E487A8B6-1A5D-405C-B048-CE528E7FF69E}"/>
    <dgm:cxn modelId="{689190B7-D34E-4D77-8E8D-E8BF333478AE}" type="presOf" srcId="{1609C9F7-F4B3-44BB-BBB0-F3652566417F}" destId="{6AF58ACC-1A49-4713-A8CF-20B66EAA09E8}" srcOrd="0" destOrd="0" presId="urn:microsoft.com/office/officeart/2005/8/layout/hList1"/>
    <dgm:cxn modelId="{A7E5BEBF-5C1E-4D38-9708-B2652DEEFA4E}" type="presOf" srcId="{2D42EFAF-3975-4A3A-B5A2-2077753EE229}" destId="{6AF58ACC-1A49-4713-A8CF-20B66EAA09E8}" srcOrd="0" destOrd="1" presId="urn:microsoft.com/office/officeart/2005/8/layout/hList1"/>
    <dgm:cxn modelId="{22ECD1D3-DF05-4CBB-94CE-19E409781003}" srcId="{371D3977-141F-4BF0-B9EA-633D5BB69409}" destId="{FB81EDA5-4273-45DF-9E09-869D5B2A71D5}" srcOrd="1" destOrd="0" parTransId="{A62B411E-F6D5-4F92-83D3-6F2B8486B777}" sibTransId="{0A65757F-5C77-4CB8-B9B3-1C46F2E8060F}"/>
    <dgm:cxn modelId="{84C7E1DB-2451-4411-89F8-1823926B000E}" type="presOf" srcId="{A1065AE8-CB36-4F21-878D-A464BB548BBB}" destId="{6AF58ACC-1A49-4713-A8CF-20B66EAA09E8}" srcOrd="0" destOrd="4" presId="urn:microsoft.com/office/officeart/2005/8/layout/hList1"/>
    <dgm:cxn modelId="{44C2D8E8-CCEE-4B57-8656-1D77264E4028}" srcId="{DD1C4F13-9FC4-486B-91FB-D2E3781CFB6C}" destId="{0239D5E1-3BBD-4386-9395-F1AF465C356D}" srcOrd="2" destOrd="0" parTransId="{CBDAA1F9-4092-4277-847D-0E6773FD2C84}" sibTransId="{53E3366E-CAC7-4C89-9FA8-59ADDCBD6A08}"/>
    <dgm:cxn modelId="{FB49F8F7-1569-4885-95D5-9AC3AE575A8D}" type="presOf" srcId="{66704821-7248-43BE-B82A-87EC2C1731B6}" destId="{EC2D2716-7AE0-4C46-9709-86BA3F5024B8}" srcOrd="0" destOrd="2" presId="urn:microsoft.com/office/officeart/2005/8/layout/hList1"/>
    <dgm:cxn modelId="{2BC8C5BE-1A11-4192-B7D1-C662794F70B7}" type="presParOf" srcId="{1F3A83D4-6249-49E9-9B7E-09B9B0FA5858}" destId="{0ED41FA7-CF40-41A8-8478-61A100DA76A2}" srcOrd="0" destOrd="0" presId="urn:microsoft.com/office/officeart/2005/8/layout/hList1"/>
    <dgm:cxn modelId="{7A63264B-741E-4992-ACB9-E28FCCE49AC6}" type="presParOf" srcId="{0ED41FA7-CF40-41A8-8478-61A100DA76A2}" destId="{860BFC81-22E8-45D4-901A-23C691F6DEB9}" srcOrd="0" destOrd="0" presId="urn:microsoft.com/office/officeart/2005/8/layout/hList1"/>
    <dgm:cxn modelId="{D40F0F92-F1A0-4D1A-927E-0E96A455A7B1}" type="presParOf" srcId="{0ED41FA7-CF40-41A8-8478-61A100DA76A2}" destId="{6AF58ACC-1A49-4713-A8CF-20B66EAA09E8}" srcOrd="1" destOrd="0" presId="urn:microsoft.com/office/officeart/2005/8/layout/hList1"/>
    <dgm:cxn modelId="{DED5CD13-B578-43BF-ABC6-FA6773424BB8}" type="presParOf" srcId="{1F3A83D4-6249-49E9-9B7E-09B9B0FA5858}" destId="{05F6E754-1249-41A9-8521-CC943A994D34}" srcOrd="1" destOrd="0" presId="urn:microsoft.com/office/officeart/2005/8/layout/hList1"/>
    <dgm:cxn modelId="{2C3A55AA-BC88-428C-B219-A43EDD4C487A}" type="presParOf" srcId="{1F3A83D4-6249-49E9-9B7E-09B9B0FA5858}" destId="{50E9CBC8-1370-4E73-AF3B-03E9242989B0}" srcOrd="2" destOrd="0" presId="urn:microsoft.com/office/officeart/2005/8/layout/hList1"/>
    <dgm:cxn modelId="{6556FD75-0FE4-4DEF-9C44-2A945177E4B9}" type="presParOf" srcId="{50E9CBC8-1370-4E73-AF3B-03E9242989B0}" destId="{C2D0EB96-AF50-4A35-A3DE-D8C7A53C0B87}" srcOrd="0" destOrd="0" presId="urn:microsoft.com/office/officeart/2005/8/layout/hList1"/>
    <dgm:cxn modelId="{37554F94-1622-4DFA-89ED-662FDBDD331C}" type="presParOf" srcId="{50E9CBC8-1370-4E73-AF3B-03E9242989B0}" destId="{EC2D2716-7AE0-4C46-9709-86BA3F5024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2B144E6-D949-4E13-91B8-44C679D54359}"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104B48D5-CEE0-4BF9-A917-7AA8691A867B}">
      <dgm:prSet custT="1"/>
      <dgm:spPr/>
      <dgm:t>
        <a:bodyPr/>
        <a:lstStyle/>
        <a:p>
          <a:r>
            <a:rPr lang="en-US" sz="2400" baseline="0"/>
            <a:t>Index columns used in WHERE clauses and JOINs.</a:t>
          </a:r>
          <a:endParaRPr lang="en-US" sz="2400"/>
        </a:p>
      </dgm:t>
    </dgm:pt>
    <dgm:pt modelId="{D1D7101F-4E5D-4840-8147-0588CFD8232D}" type="parTrans" cxnId="{ADB6E701-BCB0-4BD0-B9DE-946AFD80D117}">
      <dgm:prSet/>
      <dgm:spPr/>
      <dgm:t>
        <a:bodyPr/>
        <a:lstStyle/>
        <a:p>
          <a:endParaRPr lang="en-US"/>
        </a:p>
      </dgm:t>
    </dgm:pt>
    <dgm:pt modelId="{380F6D13-8DFF-4691-A2A7-65C2F99CE32C}" type="sibTrans" cxnId="{ADB6E701-BCB0-4BD0-B9DE-946AFD80D117}">
      <dgm:prSet/>
      <dgm:spPr/>
      <dgm:t>
        <a:bodyPr/>
        <a:lstStyle/>
        <a:p>
          <a:endParaRPr lang="en-US"/>
        </a:p>
      </dgm:t>
    </dgm:pt>
    <dgm:pt modelId="{E6EF54DE-3261-4B89-AC39-CCAF4ADE487D}">
      <dgm:prSet custT="1"/>
      <dgm:spPr/>
      <dgm:t>
        <a:bodyPr/>
        <a:lstStyle/>
        <a:p>
          <a:r>
            <a:rPr lang="en-US" sz="2400" baseline="0" dirty="0"/>
            <a:t>Keep indexes to a minimum, to minimize impact on DML and log writes.</a:t>
          </a:r>
          <a:endParaRPr lang="en-US" sz="2400" dirty="0"/>
        </a:p>
      </dgm:t>
    </dgm:pt>
    <dgm:pt modelId="{1A2DC477-06E7-4A2E-A7E3-3598C8E0E7D0}" type="parTrans" cxnId="{2FA0C50D-AE4B-4232-A195-679C88A2EC68}">
      <dgm:prSet/>
      <dgm:spPr/>
      <dgm:t>
        <a:bodyPr/>
        <a:lstStyle/>
        <a:p>
          <a:endParaRPr lang="en-US"/>
        </a:p>
      </dgm:t>
    </dgm:pt>
    <dgm:pt modelId="{2F90BA95-561B-420D-A217-5A8D2324C524}" type="sibTrans" cxnId="{2FA0C50D-AE4B-4232-A195-679C88A2EC68}">
      <dgm:prSet/>
      <dgm:spPr/>
      <dgm:t>
        <a:bodyPr/>
        <a:lstStyle/>
        <a:p>
          <a:endParaRPr lang="en-US"/>
        </a:p>
      </dgm:t>
    </dgm:pt>
    <dgm:pt modelId="{DC62D462-80F2-4BCA-A65D-1434534AE0F5}">
      <dgm:prSet custT="1"/>
      <dgm:spPr/>
      <dgm:t>
        <a:bodyPr/>
        <a:lstStyle/>
        <a:p>
          <a:r>
            <a:rPr lang="en-US" sz="2400" baseline="0" dirty="0"/>
            <a:t>Two basic approaches: Single column indexes or Multicolumn indexes</a:t>
          </a:r>
          <a:endParaRPr lang="en-US" sz="2400" dirty="0"/>
        </a:p>
      </dgm:t>
    </dgm:pt>
    <dgm:pt modelId="{0F90FB3C-FAC7-49CF-B38B-BC4629C3590E}" type="parTrans" cxnId="{5D4D276D-758D-433A-8AB3-4022FD91A14C}">
      <dgm:prSet/>
      <dgm:spPr/>
      <dgm:t>
        <a:bodyPr/>
        <a:lstStyle/>
        <a:p>
          <a:endParaRPr lang="en-US"/>
        </a:p>
      </dgm:t>
    </dgm:pt>
    <dgm:pt modelId="{453F7E31-12EC-420E-BDC3-553A3E820043}" type="sibTrans" cxnId="{5D4D276D-758D-433A-8AB3-4022FD91A14C}">
      <dgm:prSet/>
      <dgm:spPr/>
      <dgm:t>
        <a:bodyPr/>
        <a:lstStyle/>
        <a:p>
          <a:endParaRPr lang="en-US"/>
        </a:p>
      </dgm:t>
    </dgm:pt>
    <dgm:pt modelId="{2BC8DBF8-7FC5-466D-9C72-7AA9C85AB96C}">
      <dgm:prSet custT="1"/>
      <dgm:spPr/>
      <dgm:t>
        <a:bodyPr/>
        <a:lstStyle/>
        <a:p>
          <a:r>
            <a:rPr lang="en-US" sz="2400" baseline="0" dirty="0"/>
            <a:t>Easy to create too many nonclustered indexes.</a:t>
          </a:r>
          <a:endParaRPr lang="en-US" sz="2400" dirty="0"/>
        </a:p>
      </dgm:t>
    </dgm:pt>
    <dgm:pt modelId="{290F7836-957E-4D2C-BF6C-59AC3CBE71B7}" type="parTrans" cxnId="{B7C85A81-4EB6-47E4-9F09-DE87E661A430}">
      <dgm:prSet/>
      <dgm:spPr/>
      <dgm:t>
        <a:bodyPr/>
        <a:lstStyle/>
        <a:p>
          <a:endParaRPr lang="en-US"/>
        </a:p>
      </dgm:t>
    </dgm:pt>
    <dgm:pt modelId="{D671445A-C4C2-40D0-8569-EB3796B003E9}" type="sibTrans" cxnId="{B7C85A81-4EB6-47E4-9F09-DE87E661A430}">
      <dgm:prSet/>
      <dgm:spPr/>
      <dgm:t>
        <a:bodyPr/>
        <a:lstStyle/>
        <a:p>
          <a:endParaRPr lang="en-US"/>
        </a:p>
      </dgm:t>
    </dgm:pt>
    <dgm:pt modelId="{2405F436-5AB9-4EE7-AF83-0655C14C2DDB}">
      <dgm:prSet custT="1"/>
      <dgm:spPr/>
      <dgm:t>
        <a:bodyPr/>
        <a:lstStyle/>
        <a:p>
          <a:r>
            <a:rPr lang="en-US" sz="2400" baseline="0" dirty="0"/>
            <a:t>Specific indexes are appropriate for high-impact queries.</a:t>
          </a:r>
          <a:endParaRPr lang="en-US" sz="2400" dirty="0"/>
        </a:p>
      </dgm:t>
    </dgm:pt>
    <dgm:pt modelId="{14B1C3D5-AEFF-44A9-9F9F-CDDBADEC0766}" type="parTrans" cxnId="{A5CBD8FF-3C8C-45C0-901A-0E2E72C4B3DA}">
      <dgm:prSet/>
      <dgm:spPr/>
      <dgm:t>
        <a:bodyPr/>
        <a:lstStyle/>
        <a:p>
          <a:endParaRPr lang="en-US"/>
        </a:p>
      </dgm:t>
    </dgm:pt>
    <dgm:pt modelId="{390C3506-9129-4DC1-9698-D41C93F9F92E}" type="sibTrans" cxnId="{A5CBD8FF-3C8C-45C0-901A-0E2E72C4B3DA}">
      <dgm:prSet/>
      <dgm:spPr/>
      <dgm:t>
        <a:bodyPr/>
        <a:lstStyle/>
        <a:p>
          <a:endParaRPr lang="en-US"/>
        </a:p>
      </dgm:t>
    </dgm:pt>
    <dgm:pt modelId="{F8AC39A2-16A7-4386-986C-2CFFEEB8ABCE}">
      <dgm:prSet custT="1"/>
      <dgm:spPr/>
      <dgm:t>
        <a:bodyPr/>
        <a:lstStyle/>
        <a:p>
          <a:r>
            <a:rPr lang="en-US" sz="2400" baseline="0" dirty="0"/>
            <a:t>Ideally the focus should be writing queries to use existing indexes, rather than on adding more indexes.</a:t>
          </a:r>
          <a:endParaRPr lang="en-US" sz="2400" dirty="0"/>
        </a:p>
      </dgm:t>
    </dgm:pt>
    <dgm:pt modelId="{D18AEB16-C23B-47D0-A1ED-5D52CA886B32}" type="parTrans" cxnId="{66AB1D99-5B24-48C2-84D6-B24B888D4021}">
      <dgm:prSet/>
      <dgm:spPr/>
      <dgm:t>
        <a:bodyPr/>
        <a:lstStyle/>
        <a:p>
          <a:endParaRPr lang="en-US"/>
        </a:p>
      </dgm:t>
    </dgm:pt>
    <dgm:pt modelId="{CD648EA4-3068-46E5-A79C-21D13F4D1EAF}" type="sibTrans" cxnId="{66AB1D99-5B24-48C2-84D6-B24B888D4021}">
      <dgm:prSet/>
      <dgm:spPr/>
      <dgm:t>
        <a:bodyPr/>
        <a:lstStyle/>
        <a:p>
          <a:endParaRPr lang="en-US"/>
        </a:p>
      </dgm:t>
    </dgm:pt>
    <dgm:pt modelId="{234A540B-5F8B-438C-AA06-4B951EB04D01}" type="pres">
      <dgm:prSet presAssocID="{72B144E6-D949-4E13-91B8-44C679D54359}" presName="diagram" presStyleCnt="0">
        <dgm:presLayoutVars>
          <dgm:dir/>
          <dgm:resizeHandles val="exact"/>
        </dgm:presLayoutVars>
      </dgm:prSet>
      <dgm:spPr/>
    </dgm:pt>
    <dgm:pt modelId="{8B58023E-5379-4E43-8D5C-BDFB7061ED99}" type="pres">
      <dgm:prSet presAssocID="{104B48D5-CEE0-4BF9-A917-7AA8691A867B}" presName="node" presStyleLbl="node1" presStyleIdx="0" presStyleCnt="6">
        <dgm:presLayoutVars>
          <dgm:bulletEnabled val="1"/>
        </dgm:presLayoutVars>
      </dgm:prSet>
      <dgm:spPr/>
    </dgm:pt>
    <dgm:pt modelId="{577A4C86-3C95-4190-BE08-61EBEEF82BF3}" type="pres">
      <dgm:prSet presAssocID="{380F6D13-8DFF-4691-A2A7-65C2F99CE32C}" presName="sibTrans" presStyleCnt="0"/>
      <dgm:spPr/>
    </dgm:pt>
    <dgm:pt modelId="{C74C92D6-8014-4E1D-9165-76DF4C5E6A84}" type="pres">
      <dgm:prSet presAssocID="{E6EF54DE-3261-4B89-AC39-CCAF4ADE487D}" presName="node" presStyleLbl="node1" presStyleIdx="1" presStyleCnt="6">
        <dgm:presLayoutVars>
          <dgm:bulletEnabled val="1"/>
        </dgm:presLayoutVars>
      </dgm:prSet>
      <dgm:spPr/>
    </dgm:pt>
    <dgm:pt modelId="{08BA9004-0ED5-4FF9-98E0-1EB590CDDDDE}" type="pres">
      <dgm:prSet presAssocID="{2F90BA95-561B-420D-A217-5A8D2324C524}" presName="sibTrans" presStyleCnt="0"/>
      <dgm:spPr/>
    </dgm:pt>
    <dgm:pt modelId="{66311983-4D89-46B6-8ACF-DE2D1AA6A44E}" type="pres">
      <dgm:prSet presAssocID="{DC62D462-80F2-4BCA-A65D-1434534AE0F5}" presName="node" presStyleLbl="node1" presStyleIdx="2" presStyleCnt="6">
        <dgm:presLayoutVars>
          <dgm:bulletEnabled val="1"/>
        </dgm:presLayoutVars>
      </dgm:prSet>
      <dgm:spPr/>
    </dgm:pt>
    <dgm:pt modelId="{1C140366-9DC3-4391-BF47-661EC0A41A1B}" type="pres">
      <dgm:prSet presAssocID="{453F7E31-12EC-420E-BDC3-553A3E820043}" presName="sibTrans" presStyleCnt="0"/>
      <dgm:spPr/>
    </dgm:pt>
    <dgm:pt modelId="{75123E70-C1E2-4C1F-8147-91166157351C}" type="pres">
      <dgm:prSet presAssocID="{2BC8DBF8-7FC5-466D-9C72-7AA9C85AB96C}" presName="node" presStyleLbl="node1" presStyleIdx="3" presStyleCnt="6">
        <dgm:presLayoutVars>
          <dgm:bulletEnabled val="1"/>
        </dgm:presLayoutVars>
      </dgm:prSet>
      <dgm:spPr/>
    </dgm:pt>
    <dgm:pt modelId="{F1CA4A69-6564-459F-AA7E-2BB2F15D74D1}" type="pres">
      <dgm:prSet presAssocID="{D671445A-C4C2-40D0-8569-EB3796B003E9}" presName="sibTrans" presStyleCnt="0"/>
      <dgm:spPr/>
    </dgm:pt>
    <dgm:pt modelId="{1F149603-872A-4E7C-8F99-341873593DB3}" type="pres">
      <dgm:prSet presAssocID="{2405F436-5AB9-4EE7-AF83-0655C14C2DDB}" presName="node" presStyleLbl="node1" presStyleIdx="4" presStyleCnt="6">
        <dgm:presLayoutVars>
          <dgm:bulletEnabled val="1"/>
        </dgm:presLayoutVars>
      </dgm:prSet>
      <dgm:spPr/>
    </dgm:pt>
    <dgm:pt modelId="{0EBADA59-7B6C-432C-93F8-47E0A72DF6AA}" type="pres">
      <dgm:prSet presAssocID="{390C3506-9129-4DC1-9698-D41C93F9F92E}" presName="sibTrans" presStyleCnt="0"/>
      <dgm:spPr/>
    </dgm:pt>
    <dgm:pt modelId="{7D5CE624-757B-40F4-8159-0B7EE5A0DE93}" type="pres">
      <dgm:prSet presAssocID="{F8AC39A2-16A7-4386-986C-2CFFEEB8ABCE}" presName="node" presStyleLbl="node1" presStyleIdx="5" presStyleCnt="6">
        <dgm:presLayoutVars>
          <dgm:bulletEnabled val="1"/>
        </dgm:presLayoutVars>
      </dgm:prSet>
      <dgm:spPr/>
    </dgm:pt>
  </dgm:ptLst>
  <dgm:cxnLst>
    <dgm:cxn modelId="{ADB6E701-BCB0-4BD0-B9DE-946AFD80D117}" srcId="{72B144E6-D949-4E13-91B8-44C679D54359}" destId="{104B48D5-CEE0-4BF9-A917-7AA8691A867B}" srcOrd="0" destOrd="0" parTransId="{D1D7101F-4E5D-4840-8147-0588CFD8232D}" sibTransId="{380F6D13-8DFF-4691-A2A7-65C2F99CE32C}"/>
    <dgm:cxn modelId="{99ED7008-232A-4DE9-9BD5-96963ABE2D66}" type="presOf" srcId="{E6EF54DE-3261-4B89-AC39-CCAF4ADE487D}" destId="{C74C92D6-8014-4E1D-9165-76DF4C5E6A84}" srcOrd="0" destOrd="0" presId="urn:microsoft.com/office/officeart/2005/8/layout/default"/>
    <dgm:cxn modelId="{2FA0C50D-AE4B-4232-A195-679C88A2EC68}" srcId="{72B144E6-D949-4E13-91B8-44C679D54359}" destId="{E6EF54DE-3261-4B89-AC39-CCAF4ADE487D}" srcOrd="1" destOrd="0" parTransId="{1A2DC477-06E7-4A2E-A7E3-3598C8E0E7D0}" sibTransId="{2F90BA95-561B-420D-A217-5A8D2324C524}"/>
    <dgm:cxn modelId="{B4D43A62-749D-4078-A561-4FAB855EAB4F}" type="presOf" srcId="{72B144E6-D949-4E13-91B8-44C679D54359}" destId="{234A540B-5F8B-438C-AA06-4B951EB04D01}" srcOrd="0" destOrd="0" presId="urn:microsoft.com/office/officeart/2005/8/layout/default"/>
    <dgm:cxn modelId="{5D4D276D-758D-433A-8AB3-4022FD91A14C}" srcId="{72B144E6-D949-4E13-91B8-44C679D54359}" destId="{DC62D462-80F2-4BCA-A65D-1434534AE0F5}" srcOrd="2" destOrd="0" parTransId="{0F90FB3C-FAC7-49CF-B38B-BC4629C3590E}" sibTransId="{453F7E31-12EC-420E-BDC3-553A3E820043}"/>
    <dgm:cxn modelId="{B7C85A81-4EB6-47E4-9F09-DE87E661A430}" srcId="{72B144E6-D949-4E13-91B8-44C679D54359}" destId="{2BC8DBF8-7FC5-466D-9C72-7AA9C85AB96C}" srcOrd="3" destOrd="0" parTransId="{290F7836-957E-4D2C-BF6C-59AC3CBE71B7}" sibTransId="{D671445A-C4C2-40D0-8569-EB3796B003E9}"/>
    <dgm:cxn modelId="{A8D13391-15CA-4114-9EBC-81B06AEC7DE5}" type="presOf" srcId="{104B48D5-CEE0-4BF9-A917-7AA8691A867B}" destId="{8B58023E-5379-4E43-8D5C-BDFB7061ED99}" srcOrd="0" destOrd="0" presId="urn:microsoft.com/office/officeart/2005/8/layout/default"/>
    <dgm:cxn modelId="{66AB1D99-5B24-48C2-84D6-B24B888D4021}" srcId="{72B144E6-D949-4E13-91B8-44C679D54359}" destId="{F8AC39A2-16A7-4386-986C-2CFFEEB8ABCE}" srcOrd="5" destOrd="0" parTransId="{D18AEB16-C23B-47D0-A1ED-5D52CA886B32}" sibTransId="{CD648EA4-3068-46E5-A79C-21D13F4D1EAF}"/>
    <dgm:cxn modelId="{F25C1CAC-71A1-484B-94FC-AAA45ADF3FA8}" type="presOf" srcId="{2405F436-5AB9-4EE7-AF83-0655C14C2DDB}" destId="{1F149603-872A-4E7C-8F99-341873593DB3}" srcOrd="0" destOrd="0" presId="urn:microsoft.com/office/officeart/2005/8/layout/default"/>
    <dgm:cxn modelId="{5CB6ABB2-C144-404F-92EA-8A7F229E3240}" type="presOf" srcId="{DC62D462-80F2-4BCA-A65D-1434534AE0F5}" destId="{66311983-4D89-46B6-8ACF-DE2D1AA6A44E}" srcOrd="0" destOrd="0" presId="urn:microsoft.com/office/officeart/2005/8/layout/default"/>
    <dgm:cxn modelId="{5E3D1EBE-8AEE-48A2-901A-18D831CC81D3}" type="presOf" srcId="{F8AC39A2-16A7-4386-986C-2CFFEEB8ABCE}" destId="{7D5CE624-757B-40F4-8159-0B7EE5A0DE93}" srcOrd="0" destOrd="0" presId="urn:microsoft.com/office/officeart/2005/8/layout/default"/>
    <dgm:cxn modelId="{1C27CDFE-0619-4F70-9FC6-F87BFF35132D}" type="presOf" srcId="{2BC8DBF8-7FC5-466D-9C72-7AA9C85AB96C}" destId="{75123E70-C1E2-4C1F-8147-91166157351C}" srcOrd="0" destOrd="0" presId="urn:microsoft.com/office/officeart/2005/8/layout/default"/>
    <dgm:cxn modelId="{A5CBD8FF-3C8C-45C0-901A-0E2E72C4B3DA}" srcId="{72B144E6-D949-4E13-91B8-44C679D54359}" destId="{2405F436-5AB9-4EE7-AF83-0655C14C2DDB}" srcOrd="4" destOrd="0" parTransId="{14B1C3D5-AEFF-44A9-9F9F-CDDBADEC0766}" sibTransId="{390C3506-9129-4DC1-9698-D41C93F9F92E}"/>
    <dgm:cxn modelId="{E99FBD0F-41B2-418B-B48F-AA5AFD5A3C30}" type="presParOf" srcId="{234A540B-5F8B-438C-AA06-4B951EB04D01}" destId="{8B58023E-5379-4E43-8D5C-BDFB7061ED99}" srcOrd="0" destOrd="0" presId="urn:microsoft.com/office/officeart/2005/8/layout/default"/>
    <dgm:cxn modelId="{C75EFF47-133D-4260-970F-443E708A901A}" type="presParOf" srcId="{234A540B-5F8B-438C-AA06-4B951EB04D01}" destId="{577A4C86-3C95-4190-BE08-61EBEEF82BF3}" srcOrd="1" destOrd="0" presId="urn:microsoft.com/office/officeart/2005/8/layout/default"/>
    <dgm:cxn modelId="{10F4D28F-AA33-43C1-ABAB-B434A8F07612}" type="presParOf" srcId="{234A540B-5F8B-438C-AA06-4B951EB04D01}" destId="{C74C92D6-8014-4E1D-9165-76DF4C5E6A84}" srcOrd="2" destOrd="0" presId="urn:microsoft.com/office/officeart/2005/8/layout/default"/>
    <dgm:cxn modelId="{47CFC581-D51F-4066-B249-8C8CDA3EF096}" type="presParOf" srcId="{234A540B-5F8B-438C-AA06-4B951EB04D01}" destId="{08BA9004-0ED5-4FF9-98E0-1EB590CDDDDE}" srcOrd="3" destOrd="0" presId="urn:microsoft.com/office/officeart/2005/8/layout/default"/>
    <dgm:cxn modelId="{9B485E7B-1660-4C43-BF68-23ABA9056936}" type="presParOf" srcId="{234A540B-5F8B-438C-AA06-4B951EB04D01}" destId="{66311983-4D89-46B6-8ACF-DE2D1AA6A44E}" srcOrd="4" destOrd="0" presId="urn:microsoft.com/office/officeart/2005/8/layout/default"/>
    <dgm:cxn modelId="{07588178-7045-42AC-8108-CAF6203B2D6B}" type="presParOf" srcId="{234A540B-5F8B-438C-AA06-4B951EB04D01}" destId="{1C140366-9DC3-4391-BF47-661EC0A41A1B}" srcOrd="5" destOrd="0" presId="urn:microsoft.com/office/officeart/2005/8/layout/default"/>
    <dgm:cxn modelId="{D6C291B4-F48F-4C7B-A9E0-949A6FCB7BF2}" type="presParOf" srcId="{234A540B-5F8B-438C-AA06-4B951EB04D01}" destId="{75123E70-C1E2-4C1F-8147-91166157351C}" srcOrd="6" destOrd="0" presId="urn:microsoft.com/office/officeart/2005/8/layout/default"/>
    <dgm:cxn modelId="{3F9A8C7F-1ED6-462F-B354-5134FACF8948}" type="presParOf" srcId="{234A540B-5F8B-438C-AA06-4B951EB04D01}" destId="{F1CA4A69-6564-459F-AA7E-2BB2F15D74D1}" srcOrd="7" destOrd="0" presId="urn:microsoft.com/office/officeart/2005/8/layout/default"/>
    <dgm:cxn modelId="{FD438771-092F-4654-BE5C-9E97830DDA7E}" type="presParOf" srcId="{234A540B-5F8B-438C-AA06-4B951EB04D01}" destId="{1F149603-872A-4E7C-8F99-341873593DB3}" srcOrd="8" destOrd="0" presId="urn:microsoft.com/office/officeart/2005/8/layout/default"/>
    <dgm:cxn modelId="{3FE60C27-A7AB-429B-8321-6D298F6AF171}" type="presParOf" srcId="{234A540B-5F8B-438C-AA06-4B951EB04D01}" destId="{0EBADA59-7B6C-432C-93F8-47E0A72DF6AA}" srcOrd="9" destOrd="0" presId="urn:microsoft.com/office/officeart/2005/8/layout/default"/>
    <dgm:cxn modelId="{9A6ECD74-2CBB-4036-AD28-8B7168CF8AF6}" type="presParOf" srcId="{234A540B-5F8B-438C-AA06-4B951EB04D01}" destId="{7D5CE624-757B-40F4-8159-0B7EE5A0DE93}"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97489C6-77CC-402A-9B0B-3EE358A8A822}"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1B5C026C-FC17-4C2A-A884-94BAE489BFF0}">
      <dgm:prSet custT="1"/>
      <dgm:spPr/>
      <dgm:t>
        <a:bodyPr/>
        <a:lstStyle/>
        <a:p>
          <a:r>
            <a:rPr lang="en-US" sz="2400" baseline="0" dirty="0"/>
            <a:t>Lookup effectively join the nonclustered index back to the clustered index or heap. </a:t>
          </a:r>
          <a:endParaRPr lang="en-US" sz="2400" dirty="0"/>
        </a:p>
      </dgm:t>
    </dgm:pt>
    <dgm:pt modelId="{157543C3-57F2-4E43-BCD7-DAE62D46E770}" type="parTrans" cxnId="{42EFE70B-8EE3-4817-B8C6-1A6D4C0F661A}">
      <dgm:prSet/>
      <dgm:spPr/>
      <dgm:t>
        <a:bodyPr/>
        <a:lstStyle/>
        <a:p>
          <a:endParaRPr lang="en-US"/>
        </a:p>
      </dgm:t>
    </dgm:pt>
    <dgm:pt modelId="{AAE7C47A-99D4-4FF6-9633-E45496D5629E}" type="sibTrans" cxnId="{42EFE70B-8EE3-4817-B8C6-1A6D4C0F661A}">
      <dgm:prSet/>
      <dgm:spPr/>
      <dgm:t>
        <a:bodyPr/>
        <a:lstStyle/>
        <a:p>
          <a:endParaRPr lang="en-US"/>
        </a:p>
      </dgm:t>
    </dgm:pt>
    <dgm:pt modelId="{216A8027-1B78-43F4-927C-A6E533DCDD3B}">
      <dgm:prSet/>
      <dgm:spPr/>
      <dgm:t>
        <a:bodyPr/>
        <a:lstStyle/>
        <a:p>
          <a:r>
            <a:rPr lang="en-US" baseline="0" dirty="0"/>
            <a:t>If table has clustered index, it is called </a:t>
          </a:r>
          <a:r>
            <a:rPr lang="en-US" b="1" baseline="0" dirty="0"/>
            <a:t>bookmark lookup</a:t>
          </a:r>
          <a:r>
            <a:rPr lang="en-US" baseline="0" dirty="0"/>
            <a:t> (or key lookup)</a:t>
          </a:r>
          <a:endParaRPr lang="en-US" dirty="0"/>
        </a:p>
      </dgm:t>
    </dgm:pt>
    <dgm:pt modelId="{45E78EE8-6BE0-4346-96BD-C5563AA8AC46}" type="parTrans" cxnId="{C6A9AE35-6F23-4674-AD1A-2AD838FF2988}">
      <dgm:prSet/>
      <dgm:spPr/>
      <dgm:t>
        <a:bodyPr/>
        <a:lstStyle/>
        <a:p>
          <a:endParaRPr lang="en-US"/>
        </a:p>
      </dgm:t>
    </dgm:pt>
    <dgm:pt modelId="{2A872085-4E6C-4539-8CCD-BF54B6F127DC}" type="sibTrans" cxnId="{C6A9AE35-6F23-4674-AD1A-2AD838FF2988}">
      <dgm:prSet/>
      <dgm:spPr/>
      <dgm:t>
        <a:bodyPr/>
        <a:lstStyle/>
        <a:p>
          <a:endParaRPr lang="en-US"/>
        </a:p>
      </dgm:t>
    </dgm:pt>
    <dgm:pt modelId="{6412C85D-169F-41F0-84BC-3F217AE37F59}">
      <dgm:prSet/>
      <dgm:spPr/>
      <dgm:t>
        <a:bodyPr/>
        <a:lstStyle/>
        <a:p>
          <a:r>
            <a:rPr lang="en-US" baseline="0" dirty="0"/>
            <a:t>If the table is a heap with a non-clustered index, it is called </a:t>
          </a:r>
          <a:r>
            <a:rPr lang="en-US" b="1" baseline="0" dirty="0"/>
            <a:t>RID lookup</a:t>
          </a:r>
          <a:endParaRPr lang="en-US" dirty="0"/>
        </a:p>
      </dgm:t>
    </dgm:pt>
    <dgm:pt modelId="{8A12F81A-B840-4724-A7A3-8A0A7D522D67}" type="parTrans" cxnId="{B2AC20F6-8D19-4255-AE15-AE762FABC830}">
      <dgm:prSet/>
      <dgm:spPr/>
      <dgm:t>
        <a:bodyPr/>
        <a:lstStyle/>
        <a:p>
          <a:endParaRPr lang="en-US"/>
        </a:p>
      </dgm:t>
    </dgm:pt>
    <dgm:pt modelId="{1F093F23-9255-4E4E-B5DC-7EF6939D2C2B}" type="sibTrans" cxnId="{B2AC20F6-8D19-4255-AE15-AE762FABC830}">
      <dgm:prSet/>
      <dgm:spPr/>
      <dgm:t>
        <a:bodyPr/>
        <a:lstStyle/>
        <a:p>
          <a:endParaRPr lang="en-US"/>
        </a:p>
      </dgm:t>
    </dgm:pt>
    <dgm:pt modelId="{183C13B0-2C92-4AC6-B069-548FBC21CA4E}">
      <dgm:prSet custT="1"/>
      <dgm:spPr/>
      <dgm:t>
        <a:bodyPr/>
        <a:lstStyle/>
        <a:p>
          <a:r>
            <a:rPr lang="en-US" sz="2400" baseline="0"/>
            <a:t>This is an expensive operation.</a:t>
          </a:r>
          <a:endParaRPr lang="en-US" sz="2400"/>
        </a:p>
      </dgm:t>
    </dgm:pt>
    <dgm:pt modelId="{D8539FB9-D647-4337-9EA7-9FB491AD0686}" type="parTrans" cxnId="{9F660B86-6FDB-4CE1-9662-6D5C07E8D55F}">
      <dgm:prSet/>
      <dgm:spPr/>
      <dgm:t>
        <a:bodyPr/>
        <a:lstStyle/>
        <a:p>
          <a:endParaRPr lang="en-US"/>
        </a:p>
      </dgm:t>
    </dgm:pt>
    <dgm:pt modelId="{71B8614D-06E7-43FC-B7B3-09F75004BF7C}" type="sibTrans" cxnId="{9F660B86-6FDB-4CE1-9662-6D5C07E8D55F}">
      <dgm:prSet/>
      <dgm:spPr/>
      <dgm:t>
        <a:bodyPr/>
        <a:lstStyle/>
        <a:p>
          <a:endParaRPr lang="en-US"/>
        </a:p>
      </dgm:t>
    </dgm:pt>
    <dgm:pt modelId="{95DE43BB-DDDE-4BB5-9E38-3C0A3AC96B50}" type="pres">
      <dgm:prSet presAssocID="{897489C6-77CC-402A-9B0B-3EE358A8A822}" presName="linear" presStyleCnt="0">
        <dgm:presLayoutVars>
          <dgm:animLvl val="lvl"/>
          <dgm:resizeHandles val="exact"/>
        </dgm:presLayoutVars>
      </dgm:prSet>
      <dgm:spPr/>
    </dgm:pt>
    <dgm:pt modelId="{06CA8411-A856-4535-A9DB-19352547C6DA}" type="pres">
      <dgm:prSet presAssocID="{1B5C026C-FC17-4C2A-A884-94BAE489BFF0}" presName="parentText" presStyleLbl="node1" presStyleIdx="0" presStyleCnt="2">
        <dgm:presLayoutVars>
          <dgm:chMax val="0"/>
          <dgm:bulletEnabled val="1"/>
        </dgm:presLayoutVars>
      </dgm:prSet>
      <dgm:spPr/>
    </dgm:pt>
    <dgm:pt modelId="{8BBA09E5-FE57-4951-B99F-2BDF89EC6551}" type="pres">
      <dgm:prSet presAssocID="{1B5C026C-FC17-4C2A-A884-94BAE489BFF0}" presName="childText" presStyleLbl="revTx" presStyleIdx="0" presStyleCnt="1">
        <dgm:presLayoutVars>
          <dgm:bulletEnabled val="1"/>
        </dgm:presLayoutVars>
      </dgm:prSet>
      <dgm:spPr/>
    </dgm:pt>
    <dgm:pt modelId="{1E056329-3A95-46B0-90C8-2B1FD0228165}" type="pres">
      <dgm:prSet presAssocID="{183C13B0-2C92-4AC6-B069-548FBC21CA4E}" presName="parentText" presStyleLbl="node1" presStyleIdx="1" presStyleCnt="2">
        <dgm:presLayoutVars>
          <dgm:chMax val="0"/>
          <dgm:bulletEnabled val="1"/>
        </dgm:presLayoutVars>
      </dgm:prSet>
      <dgm:spPr/>
    </dgm:pt>
  </dgm:ptLst>
  <dgm:cxnLst>
    <dgm:cxn modelId="{42EFE70B-8EE3-4817-B8C6-1A6D4C0F661A}" srcId="{897489C6-77CC-402A-9B0B-3EE358A8A822}" destId="{1B5C026C-FC17-4C2A-A884-94BAE489BFF0}" srcOrd="0" destOrd="0" parTransId="{157543C3-57F2-4E43-BCD7-DAE62D46E770}" sibTransId="{AAE7C47A-99D4-4FF6-9633-E45496D5629E}"/>
    <dgm:cxn modelId="{C6A9AE35-6F23-4674-AD1A-2AD838FF2988}" srcId="{1B5C026C-FC17-4C2A-A884-94BAE489BFF0}" destId="{216A8027-1B78-43F4-927C-A6E533DCDD3B}" srcOrd="0" destOrd="0" parTransId="{45E78EE8-6BE0-4346-96BD-C5563AA8AC46}" sibTransId="{2A872085-4E6C-4539-8CCD-BF54B6F127DC}"/>
    <dgm:cxn modelId="{724BAA45-0E46-4FB6-9EC2-09D1B05B3B75}" type="presOf" srcId="{1B5C026C-FC17-4C2A-A884-94BAE489BFF0}" destId="{06CA8411-A856-4535-A9DB-19352547C6DA}" srcOrd="0" destOrd="0" presId="urn:microsoft.com/office/officeart/2005/8/layout/vList2"/>
    <dgm:cxn modelId="{BB240354-D076-4ADF-978A-CD203A57D5FE}" type="presOf" srcId="{6412C85D-169F-41F0-84BC-3F217AE37F59}" destId="{8BBA09E5-FE57-4951-B99F-2BDF89EC6551}" srcOrd="0" destOrd="1" presId="urn:microsoft.com/office/officeart/2005/8/layout/vList2"/>
    <dgm:cxn modelId="{CCD5F376-3B04-46C6-8BD3-F46C57547B61}" type="presOf" srcId="{897489C6-77CC-402A-9B0B-3EE358A8A822}" destId="{95DE43BB-DDDE-4BB5-9E38-3C0A3AC96B50}" srcOrd="0" destOrd="0" presId="urn:microsoft.com/office/officeart/2005/8/layout/vList2"/>
    <dgm:cxn modelId="{9F660B86-6FDB-4CE1-9662-6D5C07E8D55F}" srcId="{897489C6-77CC-402A-9B0B-3EE358A8A822}" destId="{183C13B0-2C92-4AC6-B069-548FBC21CA4E}" srcOrd="1" destOrd="0" parTransId="{D8539FB9-D647-4337-9EA7-9FB491AD0686}" sibTransId="{71B8614D-06E7-43FC-B7B3-09F75004BF7C}"/>
    <dgm:cxn modelId="{5A0819C1-214B-49D2-B256-7DDE8D23CCD9}" type="presOf" srcId="{183C13B0-2C92-4AC6-B069-548FBC21CA4E}" destId="{1E056329-3A95-46B0-90C8-2B1FD0228165}" srcOrd="0" destOrd="0" presId="urn:microsoft.com/office/officeart/2005/8/layout/vList2"/>
    <dgm:cxn modelId="{FBD325CC-4F63-4E52-B932-FA459EDD6BB5}" type="presOf" srcId="{216A8027-1B78-43F4-927C-A6E533DCDD3B}" destId="{8BBA09E5-FE57-4951-B99F-2BDF89EC6551}" srcOrd="0" destOrd="0" presId="urn:microsoft.com/office/officeart/2005/8/layout/vList2"/>
    <dgm:cxn modelId="{B2AC20F6-8D19-4255-AE15-AE762FABC830}" srcId="{1B5C026C-FC17-4C2A-A884-94BAE489BFF0}" destId="{6412C85D-169F-41F0-84BC-3F217AE37F59}" srcOrd="1" destOrd="0" parTransId="{8A12F81A-B840-4724-A7A3-8A0A7D522D67}" sibTransId="{1F093F23-9255-4E4E-B5DC-7EF6939D2C2B}"/>
    <dgm:cxn modelId="{5F304C8B-C6BB-47CC-B79E-4F37A9493FC9}" type="presParOf" srcId="{95DE43BB-DDDE-4BB5-9E38-3C0A3AC96B50}" destId="{06CA8411-A856-4535-A9DB-19352547C6DA}" srcOrd="0" destOrd="0" presId="urn:microsoft.com/office/officeart/2005/8/layout/vList2"/>
    <dgm:cxn modelId="{1A9CB084-04B6-466E-B5DC-F07D3403058E}" type="presParOf" srcId="{95DE43BB-DDDE-4BB5-9E38-3C0A3AC96B50}" destId="{8BBA09E5-FE57-4951-B99F-2BDF89EC6551}" srcOrd="1" destOrd="0" presId="urn:microsoft.com/office/officeart/2005/8/layout/vList2"/>
    <dgm:cxn modelId="{2809041A-F75A-469A-828F-11E96063D7F3}" type="presParOf" srcId="{95DE43BB-DDDE-4BB5-9E38-3C0A3AC96B50}" destId="{1E056329-3A95-46B0-90C8-2B1FD022816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504C359-E0D3-4C33-8AB3-CD9A85DBEA0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EF4D33AB-9844-4910-BBD7-A474E511167E}">
      <dgm:prSet custT="1"/>
      <dgm:spPr/>
      <dgm:t>
        <a:bodyPr/>
        <a:lstStyle/>
        <a:p>
          <a:r>
            <a:rPr lang="en-US" sz="2400" baseline="0" dirty="0"/>
            <a:t>Single-column Indexing</a:t>
          </a:r>
          <a:endParaRPr lang="en-US" sz="2400" dirty="0"/>
        </a:p>
      </dgm:t>
    </dgm:pt>
    <dgm:pt modelId="{5429BB5E-843F-4306-BFEF-DAE57EDD703A}" type="parTrans" cxnId="{B07474C3-5D39-489F-BEF3-084C0A4ED5BE}">
      <dgm:prSet/>
      <dgm:spPr/>
      <dgm:t>
        <a:bodyPr/>
        <a:lstStyle/>
        <a:p>
          <a:endParaRPr lang="en-US"/>
        </a:p>
      </dgm:t>
    </dgm:pt>
    <dgm:pt modelId="{A4D3EC46-9142-4AE2-B398-4158D1D200AC}" type="sibTrans" cxnId="{B07474C3-5D39-489F-BEF3-084C0A4ED5BE}">
      <dgm:prSet/>
      <dgm:spPr/>
      <dgm:t>
        <a:bodyPr/>
        <a:lstStyle/>
        <a:p>
          <a:endParaRPr lang="en-US"/>
        </a:p>
      </dgm:t>
    </dgm:pt>
    <dgm:pt modelId="{2AEFEEF0-8D12-4CC9-9985-FC1BDCA688D3}">
      <dgm:prSet custT="1"/>
      <dgm:spPr/>
      <dgm:t>
        <a:bodyPr/>
        <a:lstStyle/>
        <a:p>
          <a:r>
            <a:rPr lang="en-US" sz="2400" baseline="0" dirty="0"/>
            <a:t>Good choice for columns that are highly selective, or columns referenced often by criteria.</a:t>
          </a:r>
          <a:endParaRPr lang="en-US" sz="2400" dirty="0"/>
        </a:p>
      </dgm:t>
    </dgm:pt>
    <dgm:pt modelId="{A68C7234-A514-460E-BFF5-3E4794E20D92}" type="parTrans" cxnId="{83AC1A7A-E885-4A51-8AA2-61EAC81E985C}">
      <dgm:prSet/>
      <dgm:spPr/>
      <dgm:t>
        <a:bodyPr/>
        <a:lstStyle/>
        <a:p>
          <a:endParaRPr lang="en-US"/>
        </a:p>
      </dgm:t>
    </dgm:pt>
    <dgm:pt modelId="{7ACA89F0-7A60-4D42-8560-47F254540AFC}" type="sibTrans" cxnId="{83AC1A7A-E885-4A51-8AA2-61EAC81E985C}">
      <dgm:prSet/>
      <dgm:spPr/>
      <dgm:t>
        <a:bodyPr/>
        <a:lstStyle/>
        <a:p>
          <a:endParaRPr lang="en-US"/>
        </a:p>
      </dgm:t>
    </dgm:pt>
    <dgm:pt modelId="{C3B0405E-9DDC-4692-806B-1786A1DA1941}">
      <dgm:prSet custT="1"/>
      <dgm:spPr/>
      <dgm:t>
        <a:bodyPr/>
        <a:lstStyle/>
        <a:p>
          <a:r>
            <a:rPr lang="en-US" sz="2400" baseline="0" dirty="0"/>
            <a:t>Multi-Column Indexing</a:t>
          </a:r>
          <a:endParaRPr lang="en-US" sz="2400" dirty="0"/>
        </a:p>
      </dgm:t>
    </dgm:pt>
    <dgm:pt modelId="{95540714-4247-423D-910C-9AB77BFC96CB}" type="parTrans" cxnId="{6FB96911-2512-4931-BDDA-A6DA20AE9E03}">
      <dgm:prSet/>
      <dgm:spPr/>
      <dgm:t>
        <a:bodyPr/>
        <a:lstStyle/>
        <a:p>
          <a:endParaRPr lang="en-US"/>
        </a:p>
      </dgm:t>
    </dgm:pt>
    <dgm:pt modelId="{0AA48AF5-0D86-497E-A3F7-2FEF9B8B5F05}" type="sibTrans" cxnId="{6FB96911-2512-4931-BDDA-A6DA20AE9E03}">
      <dgm:prSet/>
      <dgm:spPr/>
      <dgm:t>
        <a:bodyPr/>
        <a:lstStyle/>
        <a:p>
          <a:endParaRPr lang="en-US"/>
        </a:p>
      </dgm:t>
    </dgm:pt>
    <dgm:pt modelId="{DD1BCA2E-9E12-481C-A1EC-1CFDC72747AD}">
      <dgm:prSet custT="1"/>
      <dgm:spPr/>
      <dgm:t>
        <a:bodyPr/>
        <a:lstStyle/>
        <a:p>
          <a:r>
            <a:rPr lang="en-US" sz="2400" baseline="0"/>
            <a:t>Good choice for low cardinality columns.</a:t>
          </a:r>
          <a:endParaRPr lang="en-US" sz="2400"/>
        </a:p>
      </dgm:t>
    </dgm:pt>
    <dgm:pt modelId="{591FE55F-1318-4AD2-A262-C0281FB44FE0}" type="parTrans" cxnId="{338995EE-AD7A-4CCC-A814-9AE0B3F16B7D}">
      <dgm:prSet/>
      <dgm:spPr/>
      <dgm:t>
        <a:bodyPr/>
        <a:lstStyle/>
        <a:p>
          <a:endParaRPr lang="en-US"/>
        </a:p>
      </dgm:t>
    </dgm:pt>
    <dgm:pt modelId="{C76C9A87-655F-44A4-922A-D7DD41CF4EF9}" type="sibTrans" cxnId="{338995EE-AD7A-4CCC-A814-9AE0B3F16B7D}">
      <dgm:prSet/>
      <dgm:spPr/>
      <dgm:t>
        <a:bodyPr/>
        <a:lstStyle/>
        <a:p>
          <a:endParaRPr lang="en-US"/>
        </a:p>
      </dgm:t>
    </dgm:pt>
    <dgm:pt modelId="{B8BCC0DA-D604-4864-8D41-A19CE62FE47E}">
      <dgm:prSet custT="1"/>
      <dgm:spPr/>
      <dgm:t>
        <a:bodyPr/>
        <a:lstStyle/>
        <a:p>
          <a:r>
            <a:rPr lang="en-US" sz="2400" baseline="0"/>
            <a:t>Highest cardinality field first, to zoom into a narrow range of the B-Tree as quickly as possible.</a:t>
          </a:r>
          <a:endParaRPr lang="en-US" sz="2400"/>
        </a:p>
      </dgm:t>
    </dgm:pt>
    <dgm:pt modelId="{CD2A7F2D-9874-42F8-AC78-F320479B6928}" type="parTrans" cxnId="{2EE2BDDD-32C8-49D6-8DF7-024F83DD12AD}">
      <dgm:prSet/>
      <dgm:spPr/>
      <dgm:t>
        <a:bodyPr/>
        <a:lstStyle/>
        <a:p>
          <a:endParaRPr lang="en-US"/>
        </a:p>
      </dgm:t>
    </dgm:pt>
    <dgm:pt modelId="{53FD8DEC-D1BF-4485-8B0F-9582ECD29071}" type="sibTrans" cxnId="{2EE2BDDD-32C8-49D6-8DF7-024F83DD12AD}">
      <dgm:prSet/>
      <dgm:spPr/>
      <dgm:t>
        <a:bodyPr/>
        <a:lstStyle/>
        <a:p>
          <a:endParaRPr lang="en-US"/>
        </a:p>
      </dgm:t>
    </dgm:pt>
    <dgm:pt modelId="{4DAF58BF-3473-4729-8E42-BA98FCB4AF5D}">
      <dgm:prSet custT="1"/>
      <dgm:spPr/>
      <dgm:t>
        <a:bodyPr/>
        <a:lstStyle/>
        <a:p>
          <a:r>
            <a:rPr lang="en-US" sz="2400" baseline="0"/>
            <a:t>Equality columns before inequality columns.</a:t>
          </a:r>
          <a:endParaRPr lang="en-US" sz="2400"/>
        </a:p>
      </dgm:t>
    </dgm:pt>
    <dgm:pt modelId="{5D6EFAD0-0656-4DC6-9A88-71C99739F6F0}" type="parTrans" cxnId="{9B6B413B-CF34-47C4-A4B1-0FE1F917D660}">
      <dgm:prSet/>
      <dgm:spPr/>
      <dgm:t>
        <a:bodyPr/>
        <a:lstStyle/>
        <a:p>
          <a:endParaRPr lang="en-US"/>
        </a:p>
      </dgm:t>
    </dgm:pt>
    <dgm:pt modelId="{033B9391-BD93-4757-94B4-5F70E6412710}" type="sibTrans" cxnId="{9B6B413B-CF34-47C4-A4B1-0FE1F917D660}">
      <dgm:prSet/>
      <dgm:spPr/>
      <dgm:t>
        <a:bodyPr/>
        <a:lstStyle/>
        <a:p>
          <a:endParaRPr lang="en-US"/>
        </a:p>
      </dgm:t>
    </dgm:pt>
    <dgm:pt modelId="{692747C0-CA52-4CDF-890F-FCCD0B2CBFC2}">
      <dgm:prSet custT="1"/>
      <dgm:spPr/>
      <dgm:t>
        <a:bodyPr/>
        <a:lstStyle/>
        <a:p>
          <a:r>
            <a:rPr lang="en-US" sz="2400" dirty="0"/>
            <a:t>When filtering data from table with multiple single column indexes, SQL uses the index with higher cardinality column</a:t>
          </a:r>
          <a:r>
            <a:rPr lang="en-US" sz="2400" baseline="0" dirty="0"/>
            <a:t>, it may be better to not index the low cardinality column.</a:t>
          </a:r>
          <a:endParaRPr lang="en-US" sz="2400" dirty="0"/>
        </a:p>
      </dgm:t>
    </dgm:pt>
    <dgm:pt modelId="{3C858099-6234-4E0F-A1E7-CE201B83C911}" type="parTrans" cxnId="{A0138377-21F0-46FD-A048-FAA2D208E353}">
      <dgm:prSet/>
      <dgm:spPr/>
    </dgm:pt>
    <dgm:pt modelId="{B4C9E0A1-7F35-4828-9403-9DDC49361C0A}" type="sibTrans" cxnId="{A0138377-21F0-46FD-A048-FAA2D208E353}">
      <dgm:prSet/>
      <dgm:spPr/>
    </dgm:pt>
    <dgm:pt modelId="{D74C0164-3724-4B59-82FA-A89D5C14D8CA}" type="pres">
      <dgm:prSet presAssocID="{F504C359-E0D3-4C33-8AB3-CD9A85DBEA0F}" presName="Name0" presStyleCnt="0">
        <dgm:presLayoutVars>
          <dgm:dir/>
          <dgm:animLvl val="lvl"/>
          <dgm:resizeHandles val="exact"/>
        </dgm:presLayoutVars>
      </dgm:prSet>
      <dgm:spPr/>
    </dgm:pt>
    <dgm:pt modelId="{7A83818C-08EF-4742-9E34-3CE9A3EE7DF0}" type="pres">
      <dgm:prSet presAssocID="{EF4D33AB-9844-4910-BBD7-A474E511167E}" presName="composite" presStyleCnt="0"/>
      <dgm:spPr/>
    </dgm:pt>
    <dgm:pt modelId="{0B3BB9FA-3BE2-434C-99E8-DDC76578CD48}" type="pres">
      <dgm:prSet presAssocID="{EF4D33AB-9844-4910-BBD7-A474E511167E}" presName="parTx" presStyleLbl="alignNode1" presStyleIdx="0" presStyleCnt="2">
        <dgm:presLayoutVars>
          <dgm:chMax val="0"/>
          <dgm:chPref val="0"/>
          <dgm:bulletEnabled val="1"/>
        </dgm:presLayoutVars>
      </dgm:prSet>
      <dgm:spPr/>
    </dgm:pt>
    <dgm:pt modelId="{FE2C7C66-CDAF-4895-9759-8C87FBBD1B44}" type="pres">
      <dgm:prSet presAssocID="{EF4D33AB-9844-4910-BBD7-A474E511167E}" presName="desTx" presStyleLbl="alignAccFollowNode1" presStyleIdx="0" presStyleCnt="2">
        <dgm:presLayoutVars>
          <dgm:bulletEnabled val="1"/>
        </dgm:presLayoutVars>
      </dgm:prSet>
      <dgm:spPr/>
    </dgm:pt>
    <dgm:pt modelId="{A2946DF0-6179-407F-8558-079C92C1E4BB}" type="pres">
      <dgm:prSet presAssocID="{A4D3EC46-9142-4AE2-B398-4158D1D200AC}" presName="space" presStyleCnt="0"/>
      <dgm:spPr/>
    </dgm:pt>
    <dgm:pt modelId="{F8427983-FD79-4FEA-AB17-C322FD23DB13}" type="pres">
      <dgm:prSet presAssocID="{C3B0405E-9DDC-4692-806B-1786A1DA1941}" presName="composite" presStyleCnt="0"/>
      <dgm:spPr/>
    </dgm:pt>
    <dgm:pt modelId="{C6F2A52F-A18E-4511-AF8C-7363517072EA}" type="pres">
      <dgm:prSet presAssocID="{C3B0405E-9DDC-4692-806B-1786A1DA1941}" presName="parTx" presStyleLbl="alignNode1" presStyleIdx="1" presStyleCnt="2">
        <dgm:presLayoutVars>
          <dgm:chMax val="0"/>
          <dgm:chPref val="0"/>
          <dgm:bulletEnabled val="1"/>
        </dgm:presLayoutVars>
      </dgm:prSet>
      <dgm:spPr/>
    </dgm:pt>
    <dgm:pt modelId="{0E5986F9-200B-4045-9FD8-97D9D189DAE5}" type="pres">
      <dgm:prSet presAssocID="{C3B0405E-9DDC-4692-806B-1786A1DA1941}" presName="desTx" presStyleLbl="alignAccFollowNode1" presStyleIdx="1" presStyleCnt="2">
        <dgm:presLayoutVars>
          <dgm:bulletEnabled val="1"/>
        </dgm:presLayoutVars>
      </dgm:prSet>
      <dgm:spPr/>
    </dgm:pt>
  </dgm:ptLst>
  <dgm:cxnLst>
    <dgm:cxn modelId="{6FB96911-2512-4931-BDDA-A6DA20AE9E03}" srcId="{F504C359-E0D3-4C33-8AB3-CD9A85DBEA0F}" destId="{C3B0405E-9DDC-4692-806B-1786A1DA1941}" srcOrd="1" destOrd="0" parTransId="{95540714-4247-423D-910C-9AB77BFC96CB}" sibTransId="{0AA48AF5-0D86-497E-A3F7-2FEF9B8B5F05}"/>
    <dgm:cxn modelId="{5B07BE2A-114A-4C97-B501-BF5C4D7E906B}" type="presOf" srcId="{C3B0405E-9DDC-4692-806B-1786A1DA1941}" destId="{C6F2A52F-A18E-4511-AF8C-7363517072EA}" srcOrd="0" destOrd="0" presId="urn:microsoft.com/office/officeart/2005/8/layout/hList1"/>
    <dgm:cxn modelId="{9B6B413B-CF34-47C4-A4B1-0FE1F917D660}" srcId="{C3B0405E-9DDC-4692-806B-1786A1DA1941}" destId="{4DAF58BF-3473-4729-8E42-BA98FCB4AF5D}" srcOrd="2" destOrd="0" parTransId="{5D6EFAD0-0656-4DC6-9A88-71C99739F6F0}" sibTransId="{033B9391-BD93-4757-94B4-5F70E6412710}"/>
    <dgm:cxn modelId="{31C5C03E-E03C-4205-8216-350D87498DE6}" type="presOf" srcId="{4DAF58BF-3473-4729-8E42-BA98FCB4AF5D}" destId="{0E5986F9-200B-4045-9FD8-97D9D189DAE5}" srcOrd="0" destOrd="2" presId="urn:microsoft.com/office/officeart/2005/8/layout/hList1"/>
    <dgm:cxn modelId="{EDB46B5B-E768-464F-B598-1E0726355D2A}" type="presOf" srcId="{DD1BCA2E-9E12-481C-A1EC-1CFDC72747AD}" destId="{0E5986F9-200B-4045-9FD8-97D9D189DAE5}" srcOrd="0" destOrd="0" presId="urn:microsoft.com/office/officeart/2005/8/layout/hList1"/>
    <dgm:cxn modelId="{A0138377-21F0-46FD-A048-FAA2D208E353}" srcId="{EF4D33AB-9844-4910-BBD7-A474E511167E}" destId="{692747C0-CA52-4CDF-890F-FCCD0B2CBFC2}" srcOrd="1" destOrd="0" parTransId="{3C858099-6234-4E0F-A1E7-CE201B83C911}" sibTransId="{B4C9E0A1-7F35-4828-9403-9DDC49361C0A}"/>
    <dgm:cxn modelId="{83AC1A7A-E885-4A51-8AA2-61EAC81E985C}" srcId="{EF4D33AB-9844-4910-BBD7-A474E511167E}" destId="{2AEFEEF0-8D12-4CC9-9985-FC1BDCA688D3}" srcOrd="0" destOrd="0" parTransId="{A68C7234-A514-460E-BFF5-3E4794E20D92}" sibTransId="{7ACA89F0-7A60-4D42-8560-47F254540AFC}"/>
    <dgm:cxn modelId="{2C61785A-264F-48FC-8722-965FECA43B89}" type="presOf" srcId="{692747C0-CA52-4CDF-890F-FCCD0B2CBFC2}" destId="{FE2C7C66-CDAF-4895-9759-8C87FBBD1B44}" srcOrd="0" destOrd="1" presId="urn:microsoft.com/office/officeart/2005/8/layout/hList1"/>
    <dgm:cxn modelId="{2822058C-D22A-410A-A85B-63A79A62FA5C}" type="presOf" srcId="{2AEFEEF0-8D12-4CC9-9985-FC1BDCA688D3}" destId="{FE2C7C66-CDAF-4895-9759-8C87FBBD1B44}" srcOrd="0" destOrd="0" presId="urn:microsoft.com/office/officeart/2005/8/layout/hList1"/>
    <dgm:cxn modelId="{50205790-2259-481F-B02B-E65497E33782}" type="presOf" srcId="{B8BCC0DA-D604-4864-8D41-A19CE62FE47E}" destId="{0E5986F9-200B-4045-9FD8-97D9D189DAE5}" srcOrd="0" destOrd="1" presId="urn:microsoft.com/office/officeart/2005/8/layout/hList1"/>
    <dgm:cxn modelId="{B07474C3-5D39-489F-BEF3-084C0A4ED5BE}" srcId="{F504C359-E0D3-4C33-8AB3-CD9A85DBEA0F}" destId="{EF4D33AB-9844-4910-BBD7-A474E511167E}" srcOrd="0" destOrd="0" parTransId="{5429BB5E-843F-4306-BFEF-DAE57EDD703A}" sibTransId="{A4D3EC46-9142-4AE2-B398-4158D1D200AC}"/>
    <dgm:cxn modelId="{FD3BD3CE-70AC-4386-88AA-FB95DD2CDE2A}" type="presOf" srcId="{EF4D33AB-9844-4910-BBD7-A474E511167E}" destId="{0B3BB9FA-3BE2-434C-99E8-DDC76578CD48}" srcOrd="0" destOrd="0" presId="urn:microsoft.com/office/officeart/2005/8/layout/hList1"/>
    <dgm:cxn modelId="{2EE2BDDD-32C8-49D6-8DF7-024F83DD12AD}" srcId="{C3B0405E-9DDC-4692-806B-1786A1DA1941}" destId="{B8BCC0DA-D604-4864-8D41-A19CE62FE47E}" srcOrd="1" destOrd="0" parTransId="{CD2A7F2D-9874-42F8-AC78-F320479B6928}" sibTransId="{53FD8DEC-D1BF-4485-8B0F-9582ECD29071}"/>
    <dgm:cxn modelId="{338995EE-AD7A-4CCC-A814-9AE0B3F16B7D}" srcId="{C3B0405E-9DDC-4692-806B-1786A1DA1941}" destId="{DD1BCA2E-9E12-481C-A1EC-1CFDC72747AD}" srcOrd="0" destOrd="0" parTransId="{591FE55F-1318-4AD2-A262-C0281FB44FE0}" sibTransId="{C76C9A87-655F-44A4-922A-D7DD41CF4EF9}"/>
    <dgm:cxn modelId="{F9D02CFD-40B1-45FD-8D22-D6EBA207BE23}" type="presOf" srcId="{F504C359-E0D3-4C33-8AB3-CD9A85DBEA0F}" destId="{D74C0164-3724-4B59-82FA-A89D5C14D8CA}" srcOrd="0" destOrd="0" presId="urn:microsoft.com/office/officeart/2005/8/layout/hList1"/>
    <dgm:cxn modelId="{44996B05-B225-4E09-84D5-FEE3E9B28812}" type="presParOf" srcId="{D74C0164-3724-4B59-82FA-A89D5C14D8CA}" destId="{7A83818C-08EF-4742-9E34-3CE9A3EE7DF0}" srcOrd="0" destOrd="0" presId="urn:microsoft.com/office/officeart/2005/8/layout/hList1"/>
    <dgm:cxn modelId="{7FE84E0B-7305-474F-8A01-EF3FE5F8CCE2}" type="presParOf" srcId="{7A83818C-08EF-4742-9E34-3CE9A3EE7DF0}" destId="{0B3BB9FA-3BE2-434C-99E8-DDC76578CD48}" srcOrd="0" destOrd="0" presId="urn:microsoft.com/office/officeart/2005/8/layout/hList1"/>
    <dgm:cxn modelId="{D9EA53FB-99F6-4ECE-8F50-6D53ACC84686}" type="presParOf" srcId="{7A83818C-08EF-4742-9E34-3CE9A3EE7DF0}" destId="{FE2C7C66-CDAF-4895-9759-8C87FBBD1B44}" srcOrd="1" destOrd="0" presId="urn:microsoft.com/office/officeart/2005/8/layout/hList1"/>
    <dgm:cxn modelId="{A4BE949A-3C93-4A7D-9D18-2AD63498DDBB}" type="presParOf" srcId="{D74C0164-3724-4B59-82FA-A89D5C14D8CA}" destId="{A2946DF0-6179-407F-8558-079C92C1E4BB}" srcOrd="1" destOrd="0" presId="urn:microsoft.com/office/officeart/2005/8/layout/hList1"/>
    <dgm:cxn modelId="{61EB697B-FDB9-4CAD-9AFE-F934830FF6D0}" type="presParOf" srcId="{D74C0164-3724-4B59-82FA-A89D5C14D8CA}" destId="{F8427983-FD79-4FEA-AB17-C322FD23DB13}" srcOrd="2" destOrd="0" presId="urn:microsoft.com/office/officeart/2005/8/layout/hList1"/>
    <dgm:cxn modelId="{B0DC1D03-A04C-4FB3-B82C-CBFF9DFC4834}" type="presParOf" srcId="{F8427983-FD79-4FEA-AB17-C322FD23DB13}" destId="{C6F2A52F-A18E-4511-AF8C-7363517072EA}" srcOrd="0" destOrd="0" presId="urn:microsoft.com/office/officeart/2005/8/layout/hList1"/>
    <dgm:cxn modelId="{E7BB3DAF-B1D9-4F48-A1C6-5D2F11C23160}" type="presParOf" srcId="{F8427983-FD79-4FEA-AB17-C322FD23DB13}" destId="{0E5986F9-200B-4045-9FD8-97D9D189DAE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1DF4E1C-23D7-4781-B3ED-F41170FF8188}"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4BBAB887-33C7-4B63-BADF-DDAB70B18E5B}">
      <dgm:prSet custT="1"/>
      <dgm:spPr/>
      <dgm:t>
        <a:bodyPr/>
        <a:lstStyle/>
        <a:p>
          <a:r>
            <a:rPr lang="en-US" sz="2000" baseline="0" dirty="0"/>
            <a:t>Seek only happens if you search for the columns in the specified order.</a:t>
          </a:r>
          <a:endParaRPr lang="en-US" sz="2000" dirty="0"/>
        </a:p>
      </dgm:t>
    </dgm:pt>
    <dgm:pt modelId="{5F85CE4B-1709-4876-87B8-6726423D4AB5}" type="parTrans" cxnId="{878614A6-F683-4365-867D-F65E403C7C63}">
      <dgm:prSet/>
      <dgm:spPr/>
      <dgm:t>
        <a:bodyPr/>
        <a:lstStyle/>
        <a:p>
          <a:endParaRPr lang="en-US"/>
        </a:p>
      </dgm:t>
    </dgm:pt>
    <dgm:pt modelId="{E6443D43-078B-41CF-ADD6-ED0EBC105DCD}" type="sibTrans" cxnId="{878614A6-F683-4365-867D-F65E403C7C63}">
      <dgm:prSet/>
      <dgm:spPr/>
      <dgm:t>
        <a:bodyPr/>
        <a:lstStyle/>
        <a:p>
          <a:endParaRPr lang="en-US"/>
        </a:p>
      </dgm:t>
    </dgm:pt>
    <dgm:pt modelId="{24A2CE4D-E036-4A90-AEBF-E3A86F6C55E1}">
      <dgm:prSet custT="1"/>
      <dgm:spPr/>
      <dgm:t>
        <a:bodyPr/>
        <a:lstStyle/>
        <a:p>
          <a:r>
            <a:rPr lang="en-US" sz="2000" baseline="0" dirty="0"/>
            <a:t>Effect of column in different WHERE clause.</a:t>
          </a:r>
          <a:endParaRPr lang="en-US" sz="2000" dirty="0"/>
        </a:p>
      </dgm:t>
    </dgm:pt>
    <dgm:pt modelId="{5A877494-CB19-4BEC-AB01-B36D41B364EE}" type="parTrans" cxnId="{B7632F9D-B714-4F7A-98A6-E08A38293300}">
      <dgm:prSet/>
      <dgm:spPr/>
      <dgm:t>
        <a:bodyPr/>
        <a:lstStyle/>
        <a:p>
          <a:endParaRPr lang="en-US"/>
        </a:p>
      </dgm:t>
    </dgm:pt>
    <dgm:pt modelId="{12BC68E8-DB29-4B28-825E-C814B24F8C0D}" type="sibTrans" cxnId="{B7632F9D-B714-4F7A-98A6-E08A38293300}">
      <dgm:prSet/>
      <dgm:spPr/>
      <dgm:t>
        <a:bodyPr/>
        <a:lstStyle/>
        <a:p>
          <a:endParaRPr lang="en-US"/>
        </a:p>
      </dgm:t>
    </dgm:pt>
    <dgm:pt modelId="{D58E6CF1-92D8-4FCA-BAB1-530AD51FF9FE}">
      <dgm:prSet/>
      <dgm:spPr/>
      <dgm:t>
        <a:bodyPr/>
        <a:lstStyle/>
        <a:p>
          <a:r>
            <a:rPr lang="en-US" baseline="0" dirty="0"/>
            <a:t>WHERE PostalCode = 98011 – seek</a:t>
          </a:r>
          <a:endParaRPr lang="en-US" dirty="0"/>
        </a:p>
      </dgm:t>
    </dgm:pt>
    <dgm:pt modelId="{3614229C-38F1-40F6-A05A-0367F26FF4A6}" type="parTrans" cxnId="{7C253561-ADF1-4223-AFAE-717421374CD6}">
      <dgm:prSet/>
      <dgm:spPr/>
      <dgm:t>
        <a:bodyPr/>
        <a:lstStyle/>
        <a:p>
          <a:endParaRPr lang="en-US"/>
        </a:p>
      </dgm:t>
    </dgm:pt>
    <dgm:pt modelId="{A34D69FC-C2B2-44C5-A80D-C1F0C2F151D1}" type="sibTrans" cxnId="{7C253561-ADF1-4223-AFAE-717421374CD6}">
      <dgm:prSet/>
      <dgm:spPr/>
      <dgm:t>
        <a:bodyPr/>
        <a:lstStyle/>
        <a:p>
          <a:endParaRPr lang="en-US"/>
        </a:p>
      </dgm:t>
    </dgm:pt>
    <dgm:pt modelId="{2ECF5319-7D56-416E-B526-360890EA995C}">
      <dgm:prSet/>
      <dgm:spPr/>
      <dgm:t>
        <a:bodyPr/>
        <a:lstStyle/>
        <a:p>
          <a:r>
            <a:rPr lang="en-US" baseline="0" dirty="0"/>
            <a:t>WHERE PostalCode = 98011 – seek AND City = Bothell -- scan</a:t>
          </a:r>
          <a:endParaRPr lang="en-US" dirty="0"/>
        </a:p>
      </dgm:t>
    </dgm:pt>
    <dgm:pt modelId="{C5FF7442-844C-4D83-80D5-CF36401ADCE3}" type="parTrans" cxnId="{E480142D-EBC5-4509-9385-120D8B563197}">
      <dgm:prSet/>
      <dgm:spPr/>
      <dgm:t>
        <a:bodyPr/>
        <a:lstStyle/>
        <a:p>
          <a:endParaRPr lang="en-US"/>
        </a:p>
      </dgm:t>
    </dgm:pt>
    <dgm:pt modelId="{A6C25A87-F9E8-493F-A7BB-E971369BC990}" type="sibTrans" cxnId="{E480142D-EBC5-4509-9385-120D8B563197}">
      <dgm:prSet/>
      <dgm:spPr/>
      <dgm:t>
        <a:bodyPr/>
        <a:lstStyle/>
        <a:p>
          <a:endParaRPr lang="en-US"/>
        </a:p>
      </dgm:t>
    </dgm:pt>
    <dgm:pt modelId="{A8B24AA0-7FF6-4742-9D1A-850A82984117}">
      <dgm:prSet/>
      <dgm:spPr/>
      <dgm:t>
        <a:bodyPr/>
        <a:lstStyle/>
        <a:p>
          <a:r>
            <a:rPr lang="en-US" baseline="0" dirty="0"/>
            <a:t>WHERE StateID = 79 -- scan</a:t>
          </a:r>
          <a:endParaRPr lang="en-US" dirty="0"/>
        </a:p>
      </dgm:t>
    </dgm:pt>
    <dgm:pt modelId="{A4BAE53E-5B42-413A-9317-1016D73D3E78}" type="parTrans" cxnId="{0211C8D6-7CF7-45E6-9F6E-53FF1DE5881F}">
      <dgm:prSet/>
      <dgm:spPr/>
      <dgm:t>
        <a:bodyPr/>
        <a:lstStyle/>
        <a:p>
          <a:endParaRPr lang="en-US"/>
        </a:p>
      </dgm:t>
    </dgm:pt>
    <dgm:pt modelId="{56485906-92F9-4FA0-9DF7-3D32DABE680D}" type="sibTrans" cxnId="{0211C8D6-7CF7-45E6-9F6E-53FF1DE5881F}">
      <dgm:prSet/>
      <dgm:spPr/>
      <dgm:t>
        <a:bodyPr/>
        <a:lstStyle/>
        <a:p>
          <a:endParaRPr lang="en-US"/>
        </a:p>
      </dgm:t>
    </dgm:pt>
    <dgm:pt modelId="{E3C7C65A-8783-49A4-8A2E-5E80061BFAEE}">
      <dgm:prSet/>
      <dgm:spPr/>
      <dgm:t>
        <a:bodyPr/>
        <a:lstStyle/>
        <a:p>
          <a:pPr>
            <a:buNone/>
          </a:pPr>
          <a:endParaRPr lang="en-US" sz="2000" dirty="0"/>
        </a:p>
      </dgm:t>
    </dgm:pt>
    <dgm:pt modelId="{16364019-A98C-4E26-A533-A61A0F73A5C0}" type="parTrans" cxnId="{6DD55095-D80A-4FE2-BC8A-5EF0EF7DE2E9}">
      <dgm:prSet/>
      <dgm:spPr/>
      <dgm:t>
        <a:bodyPr/>
        <a:lstStyle/>
        <a:p>
          <a:endParaRPr lang="en-US"/>
        </a:p>
      </dgm:t>
    </dgm:pt>
    <dgm:pt modelId="{CC7F4B7A-86F7-4958-9073-9EEBD48E133F}" type="sibTrans" cxnId="{6DD55095-D80A-4FE2-BC8A-5EF0EF7DE2E9}">
      <dgm:prSet/>
      <dgm:spPr/>
      <dgm:t>
        <a:bodyPr/>
        <a:lstStyle/>
        <a:p>
          <a:endParaRPr lang="en-US"/>
        </a:p>
      </dgm:t>
    </dgm:pt>
    <dgm:pt modelId="{1B1C9F8E-73BE-47B3-923E-9B094069EAC6}">
      <dgm:prSet/>
      <dgm:spPr/>
      <dgm:t>
        <a:bodyPr/>
        <a:lstStyle/>
        <a:p>
          <a:pPr>
            <a:buNone/>
          </a:pPr>
          <a:r>
            <a:rPr lang="en-US" sz="2000" dirty="0"/>
            <a:t> </a:t>
          </a:r>
          <a:r>
            <a:rPr lang="en-US" sz="2000" baseline="0" dirty="0"/>
            <a:t> </a:t>
          </a:r>
          <a:endParaRPr lang="en-US" sz="2000" dirty="0"/>
        </a:p>
      </dgm:t>
    </dgm:pt>
    <dgm:pt modelId="{10D79157-F2C2-4C78-B5E1-94F340DCC4D4}" type="parTrans" cxnId="{50DF90BE-CA90-4769-9B6B-1A558DD00059}">
      <dgm:prSet/>
      <dgm:spPr/>
      <dgm:t>
        <a:bodyPr/>
        <a:lstStyle/>
        <a:p>
          <a:endParaRPr lang="en-US"/>
        </a:p>
      </dgm:t>
    </dgm:pt>
    <dgm:pt modelId="{C43B6917-CCC6-4C60-9F2E-C875B02383B0}" type="sibTrans" cxnId="{50DF90BE-CA90-4769-9B6B-1A558DD00059}">
      <dgm:prSet/>
      <dgm:spPr/>
      <dgm:t>
        <a:bodyPr/>
        <a:lstStyle/>
        <a:p>
          <a:endParaRPr lang="en-US"/>
        </a:p>
      </dgm:t>
    </dgm:pt>
    <dgm:pt modelId="{2E79069D-A155-447D-92DB-60376E8E0A17}">
      <dgm:prSet/>
      <dgm:spPr/>
      <dgm:t>
        <a:bodyPr/>
        <a:lstStyle/>
        <a:p>
          <a:pPr>
            <a:buNone/>
          </a:pPr>
          <a:r>
            <a:rPr lang="en-US" sz="2000" baseline="0" dirty="0"/>
            <a:t>	</a:t>
          </a:r>
          <a:r>
            <a:rPr lang="en-US" sz="2400" baseline="0" dirty="0"/>
            <a:t>CREATE INDEX IX1 ON TABLE (PostalCode, StateID, City)</a:t>
          </a:r>
          <a:endParaRPr lang="en-US" sz="2000" dirty="0"/>
        </a:p>
      </dgm:t>
    </dgm:pt>
    <dgm:pt modelId="{B9E0C61A-CCC0-49E6-93C1-659CAF586805}" type="parTrans" cxnId="{BB85654A-875A-4BD4-AFEA-6786EADD2B55}">
      <dgm:prSet/>
      <dgm:spPr/>
      <dgm:t>
        <a:bodyPr/>
        <a:lstStyle/>
        <a:p>
          <a:endParaRPr lang="en-US"/>
        </a:p>
      </dgm:t>
    </dgm:pt>
    <dgm:pt modelId="{B9503EAC-A0A9-402D-BE8B-29658F8C3F13}" type="sibTrans" cxnId="{BB85654A-875A-4BD4-AFEA-6786EADD2B55}">
      <dgm:prSet/>
      <dgm:spPr/>
      <dgm:t>
        <a:bodyPr/>
        <a:lstStyle/>
        <a:p>
          <a:endParaRPr lang="en-US"/>
        </a:p>
      </dgm:t>
    </dgm:pt>
    <dgm:pt modelId="{A4B77BE6-626D-476D-B83A-271CBBDF7D73}">
      <dgm:prSet/>
      <dgm:spPr/>
      <dgm:t>
        <a:bodyPr/>
        <a:lstStyle/>
        <a:p>
          <a:r>
            <a:rPr lang="en-US" baseline="0" dirty="0"/>
            <a:t>WHERE PostalCode = 98011 AND StateID = 79 – seek both</a:t>
          </a:r>
          <a:endParaRPr lang="en-US" dirty="0"/>
        </a:p>
      </dgm:t>
    </dgm:pt>
    <dgm:pt modelId="{104BE8AC-F971-4FD1-AD25-9695E08E3FE7}" type="parTrans" cxnId="{B6E17002-2394-45B0-8F6C-BFA68FFF0249}">
      <dgm:prSet/>
      <dgm:spPr/>
      <dgm:t>
        <a:bodyPr/>
        <a:lstStyle/>
        <a:p>
          <a:endParaRPr lang="en-US"/>
        </a:p>
      </dgm:t>
    </dgm:pt>
    <dgm:pt modelId="{53645F83-9D5B-481D-BCA1-9A7FF5FEF9CC}" type="sibTrans" cxnId="{B6E17002-2394-45B0-8F6C-BFA68FFF0249}">
      <dgm:prSet/>
      <dgm:spPr/>
      <dgm:t>
        <a:bodyPr/>
        <a:lstStyle/>
        <a:p>
          <a:endParaRPr lang="en-US"/>
        </a:p>
      </dgm:t>
    </dgm:pt>
    <dgm:pt modelId="{C3B3B913-4373-4CB1-A8C3-406C9B1775F0}" type="pres">
      <dgm:prSet presAssocID="{11DF4E1C-23D7-4781-B3ED-F41170FF8188}" presName="Name0" presStyleCnt="0">
        <dgm:presLayoutVars>
          <dgm:dir/>
          <dgm:animLvl val="lvl"/>
          <dgm:resizeHandles/>
        </dgm:presLayoutVars>
      </dgm:prSet>
      <dgm:spPr/>
    </dgm:pt>
    <dgm:pt modelId="{D0D6A3A1-C718-418B-9F92-D0D01C204B3A}" type="pres">
      <dgm:prSet presAssocID="{4BBAB887-33C7-4B63-BADF-DDAB70B18E5B}" presName="linNode" presStyleCnt="0"/>
      <dgm:spPr/>
    </dgm:pt>
    <dgm:pt modelId="{4ABF60CD-2ECA-4851-82A4-094AB17608A3}" type="pres">
      <dgm:prSet presAssocID="{4BBAB887-33C7-4B63-BADF-DDAB70B18E5B}" presName="parentShp" presStyleLbl="node1" presStyleIdx="0" presStyleCnt="2" custScaleX="55604" custLinFactNeighborX="-10058">
        <dgm:presLayoutVars>
          <dgm:bulletEnabled val="1"/>
        </dgm:presLayoutVars>
      </dgm:prSet>
      <dgm:spPr/>
    </dgm:pt>
    <dgm:pt modelId="{51EF8AA3-6FA0-4755-AA6E-C5BC8AE4F574}" type="pres">
      <dgm:prSet presAssocID="{4BBAB887-33C7-4B63-BADF-DDAB70B18E5B}" presName="childShp" presStyleLbl="bgAccFollowNode1" presStyleIdx="0" presStyleCnt="2" custScaleX="134309">
        <dgm:presLayoutVars>
          <dgm:bulletEnabled val="1"/>
        </dgm:presLayoutVars>
      </dgm:prSet>
      <dgm:spPr/>
    </dgm:pt>
    <dgm:pt modelId="{37A8739D-FC93-42C0-ACD2-66E2BACB9967}" type="pres">
      <dgm:prSet presAssocID="{E6443D43-078B-41CF-ADD6-ED0EBC105DCD}" presName="spacing" presStyleCnt="0"/>
      <dgm:spPr/>
    </dgm:pt>
    <dgm:pt modelId="{286036E0-E568-4689-8F9F-1B63EA1B264C}" type="pres">
      <dgm:prSet presAssocID="{24A2CE4D-E036-4A90-AEBF-E3A86F6C55E1}" presName="linNode" presStyleCnt="0"/>
      <dgm:spPr/>
    </dgm:pt>
    <dgm:pt modelId="{2F27A988-C430-4343-AFC6-121B747947E2}" type="pres">
      <dgm:prSet presAssocID="{24A2CE4D-E036-4A90-AEBF-E3A86F6C55E1}" presName="parentShp" presStyleLbl="node1" presStyleIdx="1" presStyleCnt="2" custScaleX="55472" custLinFactNeighborX="-12956" custLinFactNeighborY="-2290">
        <dgm:presLayoutVars>
          <dgm:bulletEnabled val="1"/>
        </dgm:presLayoutVars>
      </dgm:prSet>
      <dgm:spPr/>
    </dgm:pt>
    <dgm:pt modelId="{6155D189-BFBB-4B9F-8D31-913BF9BA760D}" type="pres">
      <dgm:prSet presAssocID="{24A2CE4D-E036-4A90-AEBF-E3A86F6C55E1}" presName="childShp" presStyleLbl="bgAccFollowNode1" presStyleIdx="1" presStyleCnt="2" custScaleX="133163" custScaleY="102905">
        <dgm:presLayoutVars>
          <dgm:bulletEnabled val="1"/>
        </dgm:presLayoutVars>
      </dgm:prSet>
      <dgm:spPr/>
    </dgm:pt>
  </dgm:ptLst>
  <dgm:cxnLst>
    <dgm:cxn modelId="{1CF7AF00-F57A-4C29-8101-68E9BD05E4B1}" type="presOf" srcId="{11DF4E1C-23D7-4781-B3ED-F41170FF8188}" destId="{C3B3B913-4373-4CB1-A8C3-406C9B1775F0}" srcOrd="0" destOrd="0" presId="urn:microsoft.com/office/officeart/2005/8/layout/vList6"/>
    <dgm:cxn modelId="{B6E17002-2394-45B0-8F6C-BFA68FFF0249}" srcId="{24A2CE4D-E036-4A90-AEBF-E3A86F6C55E1}" destId="{A4B77BE6-626D-476D-B83A-271CBBDF7D73}" srcOrd="1" destOrd="0" parTransId="{104BE8AC-F971-4FD1-AD25-9695E08E3FE7}" sibTransId="{53645F83-9D5B-481D-BCA1-9A7FF5FEF9CC}"/>
    <dgm:cxn modelId="{34324505-317A-45F3-9468-90EC5027BE98}" type="presOf" srcId="{4BBAB887-33C7-4B63-BADF-DDAB70B18E5B}" destId="{4ABF60CD-2ECA-4851-82A4-094AB17608A3}" srcOrd="0" destOrd="0" presId="urn:microsoft.com/office/officeart/2005/8/layout/vList6"/>
    <dgm:cxn modelId="{F1825310-AE1E-413E-95AD-F6393C999642}" type="presOf" srcId="{2E79069D-A155-447D-92DB-60376E8E0A17}" destId="{51EF8AA3-6FA0-4755-AA6E-C5BC8AE4F574}" srcOrd="0" destOrd="2" presId="urn:microsoft.com/office/officeart/2005/8/layout/vList6"/>
    <dgm:cxn modelId="{8F210F13-8B98-4765-817F-FEE7B6ED2C22}" type="presOf" srcId="{1B1C9F8E-73BE-47B3-923E-9B094069EAC6}" destId="{51EF8AA3-6FA0-4755-AA6E-C5BC8AE4F574}" srcOrd="0" destOrd="1" presId="urn:microsoft.com/office/officeart/2005/8/layout/vList6"/>
    <dgm:cxn modelId="{E480142D-EBC5-4509-9385-120D8B563197}" srcId="{24A2CE4D-E036-4A90-AEBF-E3A86F6C55E1}" destId="{2ECF5319-7D56-416E-B526-360890EA995C}" srcOrd="2" destOrd="0" parTransId="{C5FF7442-844C-4D83-80D5-CF36401ADCE3}" sibTransId="{A6C25A87-F9E8-493F-A7BB-E971369BC990}"/>
    <dgm:cxn modelId="{7C253561-ADF1-4223-AFAE-717421374CD6}" srcId="{24A2CE4D-E036-4A90-AEBF-E3A86F6C55E1}" destId="{D58E6CF1-92D8-4FCA-BAB1-530AD51FF9FE}" srcOrd="0" destOrd="0" parTransId="{3614229C-38F1-40F6-A05A-0367F26FF4A6}" sibTransId="{A34D69FC-C2B2-44C5-A80D-C1F0C2F151D1}"/>
    <dgm:cxn modelId="{D5A68743-3B7D-4279-9169-CFD53C5D9AD5}" type="presOf" srcId="{D58E6CF1-92D8-4FCA-BAB1-530AD51FF9FE}" destId="{6155D189-BFBB-4B9F-8D31-913BF9BA760D}" srcOrd="0" destOrd="0" presId="urn:microsoft.com/office/officeart/2005/8/layout/vList6"/>
    <dgm:cxn modelId="{BB85654A-875A-4BD4-AFEA-6786EADD2B55}" srcId="{4BBAB887-33C7-4B63-BADF-DDAB70B18E5B}" destId="{2E79069D-A155-447D-92DB-60376E8E0A17}" srcOrd="2" destOrd="0" parTransId="{B9E0C61A-CCC0-49E6-93C1-659CAF586805}" sibTransId="{B9503EAC-A0A9-402D-BE8B-29658F8C3F13}"/>
    <dgm:cxn modelId="{79A0088A-59B7-495E-AD65-1586C76B80C5}" type="presOf" srcId="{2ECF5319-7D56-416E-B526-360890EA995C}" destId="{6155D189-BFBB-4B9F-8D31-913BF9BA760D}" srcOrd="0" destOrd="2" presId="urn:microsoft.com/office/officeart/2005/8/layout/vList6"/>
    <dgm:cxn modelId="{6DD55095-D80A-4FE2-BC8A-5EF0EF7DE2E9}" srcId="{4BBAB887-33C7-4B63-BADF-DDAB70B18E5B}" destId="{E3C7C65A-8783-49A4-8A2E-5E80061BFAEE}" srcOrd="0" destOrd="0" parTransId="{16364019-A98C-4E26-A533-A61A0F73A5C0}" sibTransId="{CC7F4B7A-86F7-4958-9073-9EEBD48E133F}"/>
    <dgm:cxn modelId="{B7632F9D-B714-4F7A-98A6-E08A38293300}" srcId="{11DF4E1C-23D7-4781-B3ED-F41170FF8188}" destId="{24A2CE4D-E036-4A90-AEBF-E3A86F6C55E1}" srcOrd="1" destOrd="0" parTransId="{5A877494-CB19-4BEC-AB01-B36D41B364EE}" sibTransId="{12BC68E8-DB29-4B28-825E-C814B24F8C0D}"/>
    <dgm:cxn modelId="{878614A6-F683-4365-867D-F65E403C7C63}" srcId="{11DF4E1C-23D7-4781-B3ED-F41170FF8188}" destId="{4BBAB887-33C7-4B63-BADF-DDAB70B18E5B}" srcOrd="0" destOrd="0" parTransId="{5F85CE4B-1709-4876-87B8-6726423D4AB5}" sibTransId="{E6443D43-078B-41CF-ADD6-ED0EBC105DCD}"/>
    <dgm:cxn modelId="{50DF90BE-CA90-4769-9B6B-1A558DD00059}" srcId="{4BBAB887-33C7-4B63-BADF-DDAB70B18E5B}" destId="{1B1C9F8E-73BE-47B3-923E-9B094069EAC6}" srcOrd="1" destOrd="0" parTransId="{10D79157-F2C2-4C78-B5E1-94F340DCC4D4}" sibTransId="{C43B6917-CCC6-4C60-9F2E-C875B02383B0}"/>
    <dgm:cxn modelId="{1ECDE2C0-454C-41F8-B600-05AFE5EDA75C}" type="presOf" srcId="{E3C7C65A-8783-49A4-8A2E-5E80061BFAEE}" destId="{51EF8AA3-6FA0-4755-AA6E-C5BC8AE4F574}" srcOrd="0" destOrd="0" presId="urn:microsoft.com/office/officeart/2005/8/layout/vList6"/>
    <dgm:cxn modelId="{B062E3CD-6D5A-4D49-ACD5-63C75EF6B440}" type="presOf" srcId="{A4B77BE6-626D-476D-B83A-271CBBDF7D73}" destId="{6155D189-BFBB-4B9F-8D31-913BF9BA760D}" srcOrd="0" destOrd="1" presId="urn:microsoft.com/office/officeart/2005/8/layout/vList6"/>
    <dgm:cxn modelId="{0211C8D6-7CF7-45E6-9F6E-53FF1DE5881F}" srcId="{24A2CE4D-E036-4A90-AEBF-E3A86F6C55E1}" destId="{A8B24AA0-7FF6-4742-9D1A-850A82984117}" srcOrd="3" destOrd="0" parTransId="{A4BAE53E-5B42-413A-9317-1016D73D3E78}" sibTransId="{56485906-92F9-4FA0-9DF7-3D32DABE680D}"/>
    <dgm:cxn modelId="{219015E6-3495-460B-8BD9-ECAD4F352EBB}" type="presOf" srcId="{24A2CE4D-E036-4A90-AEBF-E3A86F6C55E1}" destId="{2F27A988-C430-4343-AFC6-121B747947E2}" srcOrd="0" destOrd="0" presId="urn:microsoft.com/office/officeart/2005/8/layout/vList6"/>
    <dgm:cxn modelId="{BA1A75EC-E0F2-4CFB-9CD2-7E021FCB3543}" type="presOf" srcId="{A8B24AA0-7FF6-4742-9D1A-850A82984117}" destId="{6155D189-BFBB-4B9F-8D31-913BF9BA760D}" srcOrd="0" destOrd="3" presId="urn:microsoft.com/office/officeart/2005/8/layout/vList6"/>
    <dgm:cxn modelId="{19F71CD5-F7FF-44AB-B71C-A3C367BEDDEA}" type="presParOf" srcId="{C3B3B913-4373-4CB1-A8C3-406C9B1775F0}" destId="{D0D6A3A1-C718-418B-9F92-D0D01C204B3A}" srcOrd="0" destOrd="0" presId="urn:microsoft.com/office/officeart/2005/8/layout/vList6"/>
    <dgm:cxn modelId="{6C647B22-A7DC-488E-8A18-C85297CF4B69}" type="presParOf" srcId="{D0D6A3A1-C718-418B-9F92-D0D01C204B3A}" destId="{4ABF60CD-2ECA-4851-82A4-094AB17608A3}" srcOrd="0" destOrd="0" presId="urn:microsoft.com/office/officeart/2005/8/layout/vList6"/>
    <dgm:cxn modelId="{CD75D5A0-2FFA-4531-B8DE-0DE08761BE3B}" type="presParOf" srcId="{D0D6A3A1-C718-418B-9F92-D0D01C204B3A}" destId="{51EF8AA3-6FA0-4755-AA6E-C5BC8AE4F574}" srcOrd="1" destOrd="0" presId="urn:microsoft.com/office/officeart/2005/8/layout/vList6"/>
    <dgm:cxn modelId="{D1DB9F01-E4B4-4631-9E5B-3D70601A3F10}" type="presParOf" srcId="{C3B3B913-4373-4CB1-A8C3-406C9B1775F0}" destId="{37A8739D-FC93-42C0-ACD2-66E2BACB9967}" srcOrd="1" destOrd="0" presId="urn:microsoft.com/office/officeart/2005/8/layout/vList6"/>
    <dgm:cxn modelId="{DC88FB99-3618-409E-8B09-24E93E9D77A5}" type="presParOf" srcId="{C3B3B913-4373-4CB1-A8C3-406C9B1775F0}" destId="{286036E0-E568-4689-8F9F-1B63EA1B264C}" srcOrd="2" destOrd="0" presId="urn:microsoft.com/office/officeart/2005/8/layout/vList6"/>
    <dgm:cxn modelId="{9294701D-C3E9-45A9-B0FF-0CE989E21817}" type="presParOf" srcId="{286036E0-E568-4689-8F9F-1B63EA1B264C}" destId="{2F27A988-C430-4343-AFC6-121B747947E2}" srcOrd="0" destOrd="0" presId="urn:microsoft.com/office/officeart/2005/8/layout/vList6"/>
    <dgm:cxn modelId="{12BD3A41-EEB8-4DAC-8942-DEDF221A8244}" type="presParOf" srcId="{286036E0-E568-4689-8F9F-1B63EA1B264C}" destId="{6155D189-BFBB-4B9F-8D31-913BF9BA760D}"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A1BD008-6D40-4CE1-9C22-4931D7299EC5}" type="doc">
      <dgm:prSet loTypeId="urn:microsoft.com/office/officeart/2005/8/layout/vList2" loCatId="list" qsTypeId="urn:microsoft.com/office/officeart/2005/8/quickstyle/simple2" qsCatId="simple" csTypeId="urn:microsoft.com/office/officeart/2005/8/colors/accent0_1" csCatId="mainScheme" phldr="1"/>
      <dgm:spPr/>
      <dgm:t>
        <a:bodyPr/>
        <a:lstStyle/>
        <a:p>
          <a:endParaRPr lang="en-US"/>
        </a:p>
      </dgm:t>
    </dgm:pt>
    <dgm:pt modelId="{3A59B9F3-B8C6-4AD4-BAA8-3E28A7CE72EB}">
      <dgm:prSet custT="1"/>
      <dgm:spPr/>
      <dgm:t>
        <a:bodyPr/>
        <a:lstStyle/>
        <a:p>
          <a:r>
            <a:rPr lang="en-US" sz="1800" b="0" i="0" baseline="0" dirty="0"/>
            <a:t>Point where the number of rows returned is no longer selective enough to justify the I/O being done.</a:t>
          </a:r>
          <a:endParaRPr lang="en-US" sz="1800" dirty="0"/>
        </a:p>
      </dgm:t>
    </dgm:pt>
    <dgm:pt modelId="{410E2F03-1E39-4605-B356-58D46F5F2A4E}" type="parTrans" cxnId="{4A2087B3-F993-48D7-A92E-382CE38A46B2}">
      <dgm:prSet/>
      <dgm:spPr/>
      <dgm:t>
        <a:bodyPr/>
        <a:lstStyle/>
        <a:p>
          <a:endParaRPr lang="en-US"/>
        </a:p>
      </dgm:t>
    </dgm:pt>
    <dgm:pt modelId="{97D357CB-49F2-49EA-9517-EEB569C50481}" type="sibTrans" cxnId="{4A2087B3-F993-48D7-A92E-382CE38A46B2}">
      <dgm:prSet/>
      <dgm:spPr/>
      <dgm:t>
        <a:bodyPr/>
        <a:lstStyle/>
        <a:p>
          <a:endParaRPr lang="en-US"/>
        </a:p>
      </dgm:t>
    </dgm:pt>
    <dgm:pt modelId="{8FD8EA4D-E982-4CA0-B2EA-772E71997067}">
      <dgm:prSet custT="1"/>
      <dgm:spPr/>
      <dgm:t>
        <a:bodyPr/>
        <a:lstStyle/>
        <a:p>
          <a:r>
            <a:rPr lang="en-US" sz="1800" b="0" i="0" baseline="0" dirty="0"/>
            <a:t>SQL Server chooses to convert what could be a SEEK + LOOKUP into a SCAN.</a:t>
          </a:r>
          <a:endParaRPr lang="en-US" sz="1800" dirty="0"/>
        </a:p>
      </dgm:t>
    </dgm:pt>
    <dgm:pt modelId="{8CC98DE5-2EB1-4A18-B177-A0F030AD3B90}" type="parTrans" cxnId="{1DD1EC7B-9EC2-4F59-9B07-EBD8F58E3956}">
      <dgm:prSet/>
      <dgm:spPr/>
      <dgm:t>
        <a:bodyPr/>
        <a:lstStyle/>
        <a:p>
          <a:endParaRPr lang="en-US"/>
        </a:p>
      </dgm:t>
    </dgm:pt>
    <dgm:pt modelId="{97F6B55B-AA71-45A4-B743-F84C529EB961}" type="sibTrans" cxnId="{1DD1EC7B-9EC2-4F59-9B07-EBD8F58E3956}">
      <dgm:prSet/>
      <dgm:spPr/>
      <dgm:t>
        <a:bodyPr/>
        <a:lstStyle/>
        <a:p>
          <a:endParaRPr lang="en-US"/>
        </a:p>
      </dgm:t>
    </dgm:pt>
    <dgm:pt modelId="{23B0FAB8-F20C-41DB-882D-37A067D5B6D5}">
      <dgm:prSet custT="1"/>
      <dgm:spPr/>
      <dgm:t>
        <a:bodyPr/>
        <a:lstStyle/>
        <a:p>
          <a:r>
            <a:rPr lang="en-US" sz="1800" dirty="0"/>
            <a:t>The “tipping point” is between 1/4 and 1/3 of the number of row relative to the number of total pages.</a:t>
          </a:r>
        </a:p>
      </dgm:t>
    </dgm:pt>
    <dgm:pt modelId="{8A9C9D8D-6CEE-4656-A157-8ADE9A394EC6}" type="parTrans" cxnId="{BEF4D889-260B-4F6E-96E3-2E8038D99E05}">
      <dgm:prSet/>
      <dgm:spPr/>
      <dgm:t>
        <a:bodyPr/>
        <a:lstStyle/>
        <a:p>
          <a:endParaRPr lang="en-US"/>
        </a:p>
      </dgm:t>
    </dgm:pt>
    <dgm:pt modelId="{9219300A-43FD-48C2-A8FF-FE6E75C096E2}" type="sibTrans" cxnId="{BEF4D889-260B-4F6E-96E3-2E8038D99E05}">
      <dgm:prSet/>
      <dgm:spPr/>
      <dgm:t>
        <a:bodyPr/>
        <a:lstStyle/>
        <a:p>
          <a:endParaRPr lang="en-US"/>
        </a:p>
      </dgm:t>
    </dgm:pt>
    <dgm:pt modelId="{507C0689-10DA-40FB-994A-8E545CAEFCBB}">
      <dgm:prSet custT="1"/>
      <dgm:spPr/>
      <dgm:t>
        <a:bodyPr/>
        <a:lstStyle/>
        <a:p>
          <a:r>
            <a:rPr lang="en-US" sz="1800" dirty="0"/>
            <a:t>Page Density (Row per page) does have an impact on the “tipping point”</a:t>
          </a:r>
        </a:p>
      </dgm:t>
    </dgm:pt>
    <dgm:pt modelId="{C3689B49-C43F-461A-AC52-6F7A3AEFEBF2}" type="parTrans" cxnId="{B9DCC6B6-56E1-473F-B3E5-BE90A2185276}">
      <dgm:prSet/>
      <dgm:spPr/>
      <dgm:t>
        <a:bodyPr/>
        <a:lstStyle/>
        <a:p>
          <a:endParaRPr lang="en-US"/>
        </a:p>
      </dgm:t>
    </dgm:pt>
    <dgm:pt modelId="{4ADC6800-D382-4734-959C-C3A50C90AFF7}" type="sibTrans" cxnId="{B9DCC6B6-56E1-473F-B3E5-BE90A2185276}">
      <dgm:prSet/>
      <dgm:spPr/>
      <dgm:t>
        <a:bodyPr/>
        <a:lstStyle/>
        <a:p>
          <a:endParaRPr lang="en-US"/>
        </a:p>
      </dgm:t>
    </dgm:pt>
    <dgm:pt modelId="{547F0DBD-9536-4C03-BD4C-C301B3E7ACE7}" type="pres">
      <dgm:prSet presAssocID="{1A1BD008-6D40-4CE1-9C22-4931D7299EC5}" presName="linear" presStyleCnt="0">
        <dgm:presLayoutVars>
          <dgm:animLvl val="lvl"/>
          <dgm:resizeHandles val="exact"/>
        </dgm:presLayoutVars>
      </dgm:prSet>
      <dgm:spPr/>
    </dgm:pt>
    <dgm:pt modelId="{25AAEC8F-362E-4E88-B477-7BC9B158535F}" type="pres">
      <dgm:prSet presAssocID="{3A59B9F3-B8C6-4AD4-BAA8-3E28A7CE72EB}" presName="parentText" presStyleLbl="node1" presStyleIdx="0" presStyleCnt="4">
        <dgm:presLayoutVars>
          <dgm:chMax val="0"/>
          <dgm:bulletEnabled val="1"/>
        </dgm:presLayoutVars>
      </dgm:prSet>
      <dgm:spPr/>
    </dgm:pt>
    <dgm:pt modelId="{B6E780B0-0A93-499E-9C39-9AF33841CE8C}" type="pres">
      <dgm:prSet presAssocID="{97D357CB-49F2-49EA-9517-EEB569C50481}" presName="spacer" presStyleCnt="0"/>
      <dgm:spPr/>
    </dgm:pt>
    <dgm:pt modelId="{1680353D-15EC-4257-9BCD-CE0DA12164EF}" type="pres">
      <dgm:prSet presAssocID="{8FD8EA4D-E982-4CA0-B2EA-772E71997067}" presName="parentText" presStyleLbl="node1" presStyleIdx="1" presStyleCnt="4">
        <dgm:presLayoutVars>
          <dgm:chMax val="0"/>
          <dgm:bulletEnabled val="1"/>
        </dgm:presLayoutVars>
      </dgm:prSet>
      <dgm:spPr/>
    </dgm:pt>
    <dgm:pt modelId="{C1D551C0-FACC-468A-B246-D9DC92E70F51}" type="pres">
      <dgm:prSet presAssocID="{97F6B55B-AA71-45A4-B743-F84C529EB961}" presName="spacer" presStyleCnt="0"/>
      <dgm:spPr/>
    </dgm:pt>
    <dgm:pt modelId="{739B4666-29F1-4451-B2FD-C161A27C9C66}" type="pres">
      <dgm:prSet presAssocID="{23B0FAB8-F20C-41DB-882D-37A067D5B6D5}" presName="parentText" presStyleLbl="node1" presStyleIdx="2" presStyleCnt="4">
        <dgm:presLayoutVars>
          <dgm:chMax val="0"/>
          <dgm:bulletEnabled val="1"/>
        </dgm:presLayoutVars>
      </dgm:prSet>
      <dgm:spPr/>
    </dgm:pt>
    <dgm:pt modelId="{33B4547A-387A-4909-AEB7-9C1222957F33}" type="pres">
      <dgm:prSet presAssocID="{9219300A-43FD-48C2-A8FF-FE6E75C096E2}" presName="spacer" presStyleCnt="0"/>
      <dgm:spPr/>
    </dgm:pt>
    <dgm:pt modelId="{236D7755-058C-429D-803F-69584E0158BB}" type="pres">
      <dgm:prSet presAssocID="{507C0689-10DA-40FB-994A-8E545CAEFCBB}" presName="parentText" presStyleLbl="node1" presStyleIdx="3" presStyleCnt="4">
        <dgm:presLayoutVars>
          <dgm:chMax val="0"/>
          <dgm:bulletEnabled val="1"/>
        </dgm:presLayoutVars>
      </dgm:prSet>
      <dgm:spPr/>
    </dgm:pt>
  </dgm:ptLst>
  <dgm:cxnLst>
    <dgm:cxn modelId="{84B2451E-B9C7-4D54-9601-6396A6FD10D0}" type="presOf" srcId="{23B0FAB8-F20C-41DB-882D-37A067D5B6D5}" destId="{739B4666-29F1-4451-B2FD-C161A27C9C66}" srcOrd="0" destOrd="0" presId="urn:microsoft.com/office/officeart/2005/8/layout/vList2"/>
    <dgm:cxn modelId="{30FD2E33-F6D1-4D29-865F-497D29977BAE}" type="presOf" srcId="{507C0689-10DA-40FB-994A-8E545CAEFCBB}" destId="{236D7755-058C-429D-803F-69584E0158BB}" srcOrd="0" destOrd="0" presId="urn:microsoft.com/office/officeart/2005/8/layout/vList2"/>
    <dgm:cxn modelId="{E520984F-49D8-40B1-BA99-EF4E8A335723}" type="presOf" srcId="{3A59B9F3-B8C6-4AD4-BAA8-3E28A7CE72EB}" destId="{25AAEC8F-362E-4E88-B477-7BC9B158535F}" srcOrd="0" destOrd="0" presId="urn:microsoft.com/office/officeart/2005/8/layout/vList2"/>
    <dgm:cxn modelId="{1DD1EC7B-9EC2-4F59-9B07-EBD8F58E3956}" srcId="{1A1BD008-6D40-4CE1-9C22-4931D7299EC5}" destId="{8FD8EA4D-E982-4CA0-B2EA-772E71997067}" srcOrd="1" destOrd="0" parTransId="{8CC98DE5-2EB1-4A18-B177-A0F030AD3B90}" sibTransId="{97F6B55B-AA71-45A4-B743-F84C529EB961}"/>
    <dgm:cxn modelId="{BEF4D889-260B-4F6E-96E3-2E8038D99E05}" srcId="{1A1BD008-6D40-4CE1-9C22-4931D7299EC5}" destId="{23B0FAB8-F20C-41DB-882D-37A067D5B6D5}" srcOrd="2" destOrd="0" parTransId="{8A9C9D8D-6CEE-4656-A157-8ADE9A394EC6}" sibTransId="{9219300A-43FD-48C2-A8FF-FE6E75C096E2}"/>
    <dgm:cxn modelId="{4A2087B3-F993-48D7-A92E-382CE38A46B2}" srcId="{1A1BD008-6D40-4CE1-9C22-4931D7299EC5}" destId="{3A59B9F3-B8C6-4AD4-BAA8-3E28A7CE72EB}" srcOrd="0" destOrd="0" parTransId="{410E2F03-1E39-4605-B356-58D46F5F2A4E}" sibTransId="{97D357CB-49F2-49EA-9517-EEB569C50481}"/>
    <dgm:cxn modelId="{B9DCC6B6-56E1-473F-B3E5-BE90A2185276}" srcId="{1A1BD008-6D40-4CE1-9C22-4931D7299EC5}" destId="{507C0689-10DA-40FB-994A-8E545CAEFCBB}" srcOrd="3" destOrd="0" parTransId="{C3689B49-C43F-461A-AC52-6F7A3AEFEBF2}" sibTransId="{4ADC6800-D382-4734-959C-C3A50C90AFF7}"/>
    <dgm:cxn modelId="{695E77BE-CA64-40BC-9EFF-16C413E592A4}" type="presOf" srcId="{8FD8EA4D-E982-4CA0-B2EA-772E71997067}" destId="{1680353D-15EC-4257-9BCD-CE0DA12164EF}" srcOrd="0" destOrd="0" presId="urn:microsoft.com/office/officeart/2005/8/layout/vList2"/>
    <dgm:cxn modelId="{4325EFCB-0082-4C4A-92D4-984767DFF712}" type="presOf" srcId="{1A1BD008-6D40-4CE1-9C22-4931D7299EC5}" destId="{547F0DBD-9536-4C03-BD4C-C301B3E7ACE7}" srcOrd="0" destOrd="0" presId="urn:microsoft.com/office/officeart/2005/8/layout/vList2"/>
    <dgm:cxn modelId="{F0D93998-0612-47B3-824A-C1FCBD897578}" type="presParOf" srcId="{547F0DBD-9536-4C03-BD4C-C301B3E7ACE7}" destId="{25AAEC8F-362E-4E88-B477-7BC9B158535F}" srcOrd="0" destOrd="0" presId="urn:microsoft.com/office/officeart/2005/8/layout/vList2"/>
    <dgm:cxn modelId="{0194BDA4-FB9B-446B-A2D0-2E23757CDFED}" type="presParOf" srcId="{547F0DBD-9536-4C03-BD4C-C301B3E7ACE7}" destId="{B6E780B0-0A93-499E-9C39-9AF33841CE8C}" srcOrd="1" destOrd="0" presId="urn:microsoft.com/office/officeart/2005/8/layout/vList2"/>
    <dgm:cxn modelId="{FD64E90B-D5CD-41E2-8430-262B3A0F07FE}" type="presParOf" srcId="{547F0DBD-9536-4C03-BD4C-C301B3E7ACE7}" destId="{1680353D-15EC-4257-9BCD-CE0DA12164EF}" srcOrd="2" destOrd="0" presId="urn:microsoft.com/office/officeart/2005/8/layout/vList2"/>
    <dgm:cxn modelId="{F1EBEABC-1D4C-48A3-BDC3-C288D2AD069F}" type="presParOf" srcId="{547F0DBD-9536-4C03-BD4C-C301B3E7ACE7}" destId="{C1D551C0-FACC-468A-B246-D9DC92E70F51}" srcOrd="3" destOrd="0" presId="urn:microsoft.com/office/officeart/2005/8/layout/vList2"/>
    <dgm:cxn modelId="{E6840405-C0E2-4317-AE2E-28BF9C732ACC}" type="presParOf" srcId="{547F0DBD-9536-4C03-BD4C-C301B3E7ACE7}" destId="{739B4666-29F1-4451-B2FD-C161A27C9C66}" srcOrd="4" destOrd="0" presId="urn:microsoft.com/office/officeart/2005/8/layout/vList2"/>
    <dgm:cxn modelId="{7FD41164-AAE3-4F2B-B245-970A4CE3C125}" type="presParOf" srcId="{547F0DBD-9536-4C03-BD4C-C301B3E7ACE7}" destId="{33B4547A-387A-4909-AEB7-9C1222957F33}" srcOrd="5" destOrd="0" presId="urn:microsoft.com/office/officeart/2005/8/layout/vList2"/>
    <dgm:cxn modelId="{19A4BA16-1D2D-4E5C-A6C7-5C4531D909EB}" type="presParOf" srcId="{547F0DBD-9536-4C03-BD4C-C301B3E7ACE7}" destId="{236D7755-058C-429D-803F-69584E0158B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22BFC72-AED9-4856-AD95-E27E377214E5}"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818C7C8B-9AD2-4D96-9136-75D7F2B87843}">
      <dgm:prSet custT="1"/>
      <dgm:spPr/>
      <dgm:t>
        <a:bodyPr/>
        <a:lstStyle/>
        <a:p>
          <a:r>
            <a:rPr lang="en-US" sz="2400" baseline="0"/>
            <a:t>Data access and distribution changes over time.</a:t>
          </a:r>
          <a:endParaRPr lang="en-US" sz="2400"/>
        </a:p>
      </dgm:t>
    </dgm:pt>
    <dgm:pt modelId="{B965B95E-379C-4FBB-AACF-F4F891D83541}" type="parTrans" cxnId="{A183B404-F2F9-44E8-B161-2507831EE0E5}">
      <dgm:prSet/>
      <dgm:spPr/>
      <dgm:t>
        <a:bodyPr/>
        <a:lstStyle/>
        <a:p>
          <a:endParaRPr lang="en-US"/>
        </a:p>
      </dgm:t>
    </dgm:pt>
    <dgm:pt modelId="{27EC045D-386D-43A3-B46F-5ECE1FA42486}" type="sibTrans" cxnId="{A183B404-F2F9-44E8-B161-2507831EE0E5}">
      <dgm:prSet/>
      <dgm:spPr/>
      <dgm:t>
        <a:bodyPr/>
        <a:lstStyle/>
        <a:p>
          <a:endParaRPr lang="en-US"/>
        </a:p>
      </dgm:t>
    </dgm:pt>
    <dgm:pt modelId="{452E1482-3E28-4549-956B-C79AC7683740}">
      <dgm:prSet custT="1"/>
      <dgm:spPr/>
      <dgm:t>
        <a:bodyPr/>
        <a:lstStyle/>
        <a:p>
          <a:r>
            <a:rPr lang="en-US" sz="2400" baseline="0" dirty="0"/>
            <a:t>By reviewing index usage, we can ensure that the indexes are appropriate for the current workload.</a:t>
          </a:r>
          <a:endParaRPr lang="en-US" sz="2400" dirty="0"/>
        </a:p>
      </dgm:t>
    </dgm:pt>
    <dgm:pt modelId="{4D4D81A1-60E0-42B2-9415-E4215F59FEA7}" type="parTrans" cxnId="{3E19F38C-E0EB-41D2-8AF0-70934CAE04CC}">
      <dgm:prSet/>
      <dgm:spPr/>
      <dgm:t>
        <a:bodyPr/>
        <a:lstStyle/>
        <a:p>
          <a:endParaRPr lang="en-US"/>
        </a:p>
      </dgm:t>
    </dgm:pt>
    <dgm:pt modelId="{DAFCD9D3-7DB1-4AA1-886C-07CA6116C444}" type="sibTrans" cxnId="{3E19F38C-E0EB-41D2-8AF0-70934CAE04CC}">
      <dgm:prSet/>
      <dgm:spPr/>
      <dgm:t>
        <a:bodyPr/>
        <a:lstStyle/>
        <a:p>
          <a:endParaRPr lang="en-US"/>
        </a:p>
      </dgm:t>
    </dgm:pt>
    <dgm:pt modelId="{A71F1EFB-757D-4DF5-8D6F-DD30DB3387C9}">
      <dgm:prSet custT="1"/>
      <dgm:spPr/>
      <dgm:t>
        <a:bodyPr/>
        <a:lstStyle/>
        <a:p>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gm:t>
    </dgm:pt>
    <dgm:pt modelId="{0DB0367E-CE17-4DE4-A1A8-35D1E0EB5DB5}" type="parTrans" cxnId="{204D40BA-F3B7-4D82-B593-EF4E3DC19ACA}">
      <dgm:prSet/>
      <dgm:spPr/>
      <dgm:t>
        <a:bodyPr/>
        <a:lstStyle/>
        <a:p>
          <a:endParaRPr lang="en-US"/>
        </a:p>
      </dgm:t>
    </dgm:pt>
    <dgm:pt modelId="{813E3C1A-B685-41A2-AF52-A3754C03D981}" type="sibTrans" cxnId="{204D40BA-F3B7-4D82-B593-EF4E3DC19ACA}">
      <dgm:prSet/>
      <dgm:spPr/>
      <dgm:t>
        <a:bodyPr/>
        <a:lstStyle/>
        <a:p>
          <a:endParaRPr lang="en-US"/>
        </a:p>
      </dgm:t>
    </dgm:pt>
    <dgm:pt modelId="{8D25F543-1158-4D31-8D58-0E2A492DE7BB}">
      <dgm:prSet custT="1"/>
      <dgm:spPr/>
      <dgm:t>
        <a:bodyPr/>
        <a:lstStyle/>
        <a:p>
          <a:r>
            <a:rPr lang="en-US" sz="2400" baseline="0"/>
            <a:t>Database standard report also monitors Index usage and Physical Statistics. </a:t>
          </a:r>
          <a:endParaRPr lang="en-US" sz="2400"/>
        </a:p>
      </dgm:t>
    </dgm:pt>
    <dgm:pt modelId="{D16E75BB-734E-48A5-9572-1B6DA881BEF5}" type="parTrans" cxnId="{3F7B479D-3463-4F93-BA68-625855096B2A}">
      <dgm:prSet/>
      <dgm:spPr/>
      <dgm:t>
        <a:bodyPr/>
        <a:lstStyle/>
        <a:p>
          <a:endParaRPr lang="en-US"/>
        </a:p>
      </dgm:t>
    </dgm:pt>
    <dgm:pt modelId="{2BD26993-E137-4739-B2F3-1D00C76746B9}" type="sibTrans" cxnId="{3F7B479D-3463-4F93-BA68-625855096B2A}">
      <dgm:prSet/>
      <dgm:spPr/>
      <dgm:t>
        <a:bodyPr/>
        <a:lstStyle/>
        <a:p>
          <a:endParaRPr lang="en-US"/>
        </a:p>
      </dgm:t>
    </dgm:pt>
    <dgm:pt modelId="{242B0F13-631C-4016-B678-3FF7C8825159}" type="pres">
      <dgm:prSet presAssocID="{622BFC72-AED9-4856-AD95-E27E377214E5}" presName="linear" presStyleCnt="0">
        <dgm:presLayoutVars>
          <dgm:animLvl val="lvl"/>
          <dgm:resizeHandles val="exact"/>
        </dgm:presLayoutVars>
      </dgm:prSet>
      <dgm:spPr/>
    </dgm:pt>
    <dgm:pt modelId="{8602B1F8-B029-4B99-91A8-CE1E383A2315}" type="pres">
      <dgm:prSet presAssocID="{818C7C8B-9AD2-4D96-9136-75D7F2B87843}" presName="parentText" presStyleLbl="node1" presStyleIdx="0" presStyleCnt="4">
        <dgm:presLayoutVars>
          <dgm:chMax val="0"/>
          <dgm:bulletEnabled val="1"/>
        </dgm:presLayoutVars>
      </dgm:prSet>
      <dgm:spPr/>
    </dgm:pt>
    <dgm:pt modelId="{E8FCE056-10BB-4077-917B-663DB7D7B745}" type="pres">
      <dgm:prSet presAssocID="{27EC045D-386D-43A3-B46F-5ECE1FA42486}" presName="spacer" presStyleCnt="0"/>
      <dgm:spPr/>
    </dgm:pt>
    <dgm:pt modelId="{E6D86303-23A1-4B21-B6BC-134290A7CEFD}" type="pres">
      <dgm:prSet presAssocID="{452E1482-3E28-4549-956B-C79AC7683740}" presName="parentText" presStyleLbl="node1" presStyleIdx="1" presStyleCnt="4">
        <dgm:presLayoutVars>
          <dgm:chMax val="0"/>
          <dgm:bulletEnabled val="1"/>
        </dgm:presLayoutVars>
      </dgm:prSet>
      <dgm:spPr/>
    </dgm:pt>
    <dgm:pt modelId="{A76F5E30-2A55-4AF7-AE9B-B7E6A1F201D7}" type="pres">
      <dgm:prSet presAssocID="{DAFCD9D3-7DB1-4AA1-886C-07CA6116C444}" presName="spacer" presStyleCnt="0"/>
      <dgm:spPr/>
    </dgm:pt>
    <dgm:pt modelId="{26E70C0C-F5FD-49C3-8713-CCF302D4DD1F}" type="pres">
      <dgm:prSet presAssocID="{A71F1EFB-757D-4DF5-8D6F-DD30DB3387C9}" presName="parentText" presStyleLbl="node1" presStyleIdx="2" presStyleCnt="4">
        <dgm:presLayoutVars>
          <dgm:chMax val="0"/>
          <dgm:bulletEnabled val="1"/>
        </dgm:presLayoutVars>
      </dgm:prSet>
      <dgm:spPr/>
    </dgm:pt>
    <dgm:pt modelId="{29DF7871-5A89-456A-AFCB-8C8FBDB9E9BD}" type="pres">
      <dgm:prSet presAssocID="{813E3C1A-B685-41A2-AF52-A3754C03D981}" presName="spacer" presStyleCnt="0"/>
      <dgm:spPr/>
    </dgm:pt>
    <dgm:pt modelId="{BED7B686-B782-45EF-9B4E-6B0A8CF64E7E}" type="pres">
      <dgm:prSet presAssocID="{8D25F543-1158-4D31-8D58-0E2A492DE7BB}" presName="parentText" presStyleLbl="node1" presStyleIdx="3" presStyleCnt="4">
        <dgm:presLayoutVars>
          <dgm:chMax val="0"/>
          <dgm:bulletEnabled val="1"/>
        </dgm:presLayoutVars>
      </dgm:prSet>
      <dgm:spPr/>
    </dgm:pt>
  </dgm:ptLst>
  <dgm:cxnLst>
    <dgm:cxn modelId="{A183B404-F2F9-44E8-B161-2507831EE0E5}" srcId="{622BFC72-AED9-4856-AD95-E27E377214E5}" destId="{818C7C8B-9AD2-4D96-9136-75D7F2B87843}" srcOrd="0" destOrd="0" parTransId="{B965B95E-379C-4FBB-AACF-F4F891D83541}" sibTransId="{27EC045D-386D-43A3-B46F-5ECE1FA42486}"/>
    <dgm:cxn modelId="{5DBD870C-C9B5-4BD6-A2DF-FAA4BF28D85D}" type="presOf" srcId="{8D25F543-1158-4D31-8D58-0E2A492DE7BB}" destId="{BED7B686-B782-45EF-9B4E-6B0A8CF64E7E}" srcOrd="0" destOrd="0" presId="urn:microsoft.com/office/officeart/2005/8/layout/vList2"/>
    <dgm:cxn modelId="{8154B418-D062-4CEC-90BD-4E47F53F860E}" type="presOf" srcId="{622BFC72-AED9-4856-AD95-E27E377214E5}" destId="{242B0F13-631C-4016-B678-3FF7C8825159}" srcOrd="0" destOrd="0" presId="urn:microsoft.com/office/officeart/2005/8/layout/vList2"/>
    <dgm:cxn modelId="{0E35D53D-9472-49CF-9770-9B2C1DDBD0A4}" type="presOf" srcId="{452E1482-3E28-4549-956B-C79AC7683740}" destId="{E6D86303-23A1-4B21-B6BC-134290A7CEFD}" srcOrd="0" destOrd="0" presId="urn:microsoft.com/office/officeart/2005/8/layout/vList2"/>
    <dgm:cxn modelId="{81674A8C-91B7-485A-B75E-9FF43025774B}" type="presOf" srcId="{A71F1EFB-757D-4DF5-8D6F-DD30DB3387C9}" destId="{26E70C0C-F5FD-49C3-8713-CCF302D4DD1F}" srcOrd="0" destOrd="0" presId="urn:microsoft.com/office/officeart/2005/8/layout/vList2"/>
    <dgm:cxn modelId="{3E19F38C-E0EB-41D2-8AF0-70934CAE04CC}" srcId="{622BFC72-AED9-4856-AD95-E27E377214E5}" destId="{452E1482-3E28-4549-956B-C79AC7683740}" srcOrd="1" destOrd="0" parTransId="{4D4D81A1-60E0-42B2-9415-E4215F59FEA7}" sibTransId="{DAFCD9D3-7DB1-4AA1-886C-07CA6116C444}"/>
    <dgm:cxn modelId="{DBCE3291-5CD9-492C-A789-C6A7CB87D799}" type="presOf" srcId="{818C7C8B-9AD2-4D96-9136-75D7F2B87843}" destId="{8602B1F8-B029-4B99-91A8-CE1E383A2315}" srcOrd="0" destOrd="0" presId="urn:microsoft.com/office/officeart/2005/8/layout/vList2"/>
    <dgm:cxn modelId="{3F7B479D-3463-4F93-BA68-625855096B2A}" srcId="{622BFC72-AED9-4856-AD95-E27E377214E5}" destId="{8D25F543-1158-4D31-8D58-0E2A492DE7BB}" srcOrd="3" destOrd="0" parTransId="{D16E75BB-734E-48A5-9572-1B6DA881BEF5}" sibTransId="{2BD26993-E137-4739-B2F3-1D00C76746B9}"/>
    <dgm:cxn modelId="{204D40BA-F3B7-4D82-B593-EF4E3DC19ACA}" srcId="{622BFC72-AED9-4856-AD95-E27E377214E5}" destId="{A71F1EFB-757D-4DF5-8D6F-DD30DB3387C9}" srcOrd="2" destOrd="0" parTransId="{0DB0367E-CE17-4DE4-A1A8-35D1E0EB5DB5}" sibTransId="{813E3C1A-B685-41A2-AF52-A3754C03D981}"/>
    <dgm:cxn modelId="{7B8653EA-798F-4FFC-924D-6117B9AE874A}" type="presParOf" srcId="{242B0F13-631C-4016-B678-3FF7C8825159}" destId="{8602B1F8-B029-4B99-91A8-CE1E383A2315}" srcOrd="0" destOrd="0" presId="urn:microsoft.com/office/officeart/2005/8/layout/vList2"/>
    <dgm:cxn modelId="{BEC14923-8FF7-41B7-8BE0-6845AB2B8EAC}" type="presParOf" srcId="{242B0F13-631C-4016-B678-3FF7C8825159}" destId="{E8FCE056-10BB-4077-917B-663DB7D7B745}" srcOrd="1" destOrd="0" presId="urn:microsoft.com/office/officeart/2005/8/layout/vList2"/>
    <dgm:cxn modelId="{8CECCBA9-C18E-4FD9-A52E-289AE25D36AD}" type="presParOf" srcId="{242B0F13-631C-4016-B678-3FF7C8825159}" destId="{E6D86303-23A1-4B21-B6BC-134290A7CEFD}" srcOrd="2" destOrd="0" presId="urn:microsoft.com/office/officeart/2005/8/layout/vList2"/>
    <dgm:cxn modelId="{814AEC97-301A-40D8-B85E-DFE7E04224A5}" type="presParOf" srcId="{242B0F13-631C-4016-B678-3FF7C8825159}" destId="{A76F5E30-2A55-4AF7-AE9B-B7E6A1F201D7}" srcOrd="3" destOrd="0" presId="urn:microsoft.com/office/officeart/2005/8/layout/vList2"/>
    <dgm:cxn modelId="{A9CC3CA3-52D4-4A2F-B4F7-D4F7387B4A8E}" type="presParOf" srcId="{242B0F13-631C-4016-B678-3FF7C8825159}" destId="{26E70C0C-F5FD-49C3-8713-CCF302D4DD1F}" srcOrd="4" destOrd="0" presId="urn:microsoft.com/office/officeart/2005/8/layout/vList2"/>
    <dgm:cxn modelId="{CEC5DA75-40CC-4890-9D5A-BD4222238EDA}" type="presParOf" srcId="{242B0F13-631C-4016-B678-3FF7C8825159}" destId="{29DF7871-5A89-456A-AFCB-8C8FBDB9E9BD}" srcOrd="5" destOrd="0" presId="urn:microsoft.com/office/officeart/2005/8/layout/vList2"/>
    <dgm:cxn modelId="{1B89218C-DB26-45B0-A519-FBE7296A2F15}" type="presParOf" srcId="{242B0F13-631C-4016-B678-3FF7C8825159}" destId="{BED7B686-B782-45EF-9B4E-6B0A8CF64E7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C879D35-8B4C-4075-98AB-550F8BC0C5D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4A18463-413F-4B2D-BCD8-40CCF5850E34}">
      <dgm:prSet/>
      <dgm:spPr/>
      <dgm:t>
        <a:bodyPr/>
        <a:lstStyle/>
        <a:p>
          <a:r>
            <a:rPr lang="en-US" baseline="0"/>
            <a:t>SSMS -&gt; Index Physical Statistics report </a:t>
          </a:r>
          <a:endParaRPr lang="en-US"/>
        </a:p>
      </dgm:t>
    </dgm:pt>
    <dgm:pt modelId="{BB7FA90C-751C-4DA4-B45B-1B31797FB2E0}" type="parTrans" cxnId="{DDEB4301-CDD5-4A98-B12D-25FA70216129}">
      <dgm:prSet/>
      <dgm:spPr/>
      <dgm:t>
        <a:bodyPr/>
        <a:lstStyle/>
        <a:p>
          <a:endParaRPr lang="en-US"/>
        </a:p>
      </dgm:t>
    </dgm:pt>
    <dgm:pt modelId="{AEC3F5E2-E180-4358-B38C-A28CB8B98D76}" type="sibTrans" cxnId="{DDEB4301-CDD5-4A98-B12D-25FA70216129}">
      <dgm:prSet/>
      <dgm:spPr/>
      <dgm:t>
        <a:bodyPr/>
        <a:lstStyle/>
        <a:p>
          <a:endParaRPr lang="en-US"/>
        </a:p>
      </dgm:t>
    </dgm:pt>
    <dgm:pt modelId="{C3AB487F-DD2E-4872-9719-0CD9B0503C03}">
      <dgm:prSet/>
      <dgm:spPr/>
      <dgm:t>
        <a:bodyPr/>
        <a:lstStyle/>
        <a:p>
          <a:r>
            <a:rPr lang="en-US" baseline="0"/>
            <a:t>Will report fragmentation and recommend solution at database level</a:t>
          </a:r>
          <a:endParaRPr lang="en-US"/>
        </a:p>
      </dgm:t>
    </dgm:pt>
    <dgm:pt modelId="{8E0BB17A-2E10-41F3-B141-B0010DEED561}" type="parTrans" cxnId="{9AC0B70E-9136-4DA3-9A6D-C4986F4B2BBE}">
      <dgm:prSet/>
      <dgm:spPr/>
      <dgm:t>
        <a:bodyPr/>
        <a:lstStyle/>
        <a:p>
          <a:endParaRPr lang="en-US"/>
        </a:p>
      </dgm:t>
    </dgm:pt>
    <dgm:pt modelId="{86D22D12-B329-4D2A-B822-34E903A597E7}" type="sibTrans" cxnId="{9AC0B70E-9136-4DA3-9A6D-C4986F4B2BBE}">
      <dgm:prSet/>
      <dgm:spPr/>
      <dgm:t>
        <a:bodyPr/>
        <a:lstStyle/>
        <a:p>
          <a:endParaRPr lang="en-US"/>
        </a:p>
      </dgm:t>
    </dgm:pt>
    <dgm:pt modelId="{D829DDF6-191C-42CE-B034-261D7BBDA1C2}">
      <dgm:prSet/>
      <dgm:spPr/>
      <dgm:t>
        <a:bodyPr/>
        <a:lstStyle/>
        <a:p>
          <a:r>
            <a:rPr lang="en-US" baseline="0"/>
            <a:t>Custom Solution</a:t>
          </a:r>
          <a:endParaRPr lang="en-US"/>
        </a:p>
      </dgm:t>
    </dgm:pt>
    <dgm:pt modelId="{E674B723-CC4A-4E70-9260-F7EA07D29DBF}" type="parTrans" cxnId="{B690F986-3EEB-497F-8624-9A812AC63575}">
      <dgm:prSet/>
      <dgm:spPr/>
      <dgm:t>
        <a:bodyPr/>
        <a:lstStyle/>
        <a:p>
          <a:endParaRPr lang="en-US"/>
        </a:p>
      </dgm:t>
    </dgm:pt>
    <dgm:pt modelId="{8D094E88-2F52-4C78-8BBA-8DC64D4005B2}" type="sibTrans" cxnId="{B690F986-3EEB-497F-8624-9A812AC63575}">
      <dgm:prSet/>
      <dgm:spPr/>
      <dgm:t>
        <a:bodyPr/>
        <a:lstStyle/>
        <a:p>
          <a:endParaRPr lang="en-US"/>
        </a:p>
      </dgm:t>
    </dgm:pt>
    <dgm:pt modelId="{53EBF035-6E3B-42DB-B1B0-6D8DA3B55269}">
      <dgm:prSet/>
      <dgm:spPr/>
      <dgm:t>
        <a:bodyPr/>
        <a:lstStyle/>
        <a:p>
          <a:r>
            <a:rPr lang="en-US" baseline="0"/>
            <a:t>Find fragmentation  using Sys.dm_db_index_physical_stats</a:t>
          </a:r>
          <a:endParaRPr lang="en-US"/>
        </a:p>
      </dgm:t>
    </dgm:pt>
    <dgm:pt modelId="{316C303F-B534-4B7D-BEFA-73F8033770CC}" type="parTrans" cxnId="{DE559F9D-327D-4DC0-8FBF-B7F32FA6BFB0}">
      <dgm:prSet/>
      <dgm:spPr/>
      <dgm:t>
        <a:bodyPr/>
        <a:lstStyle/>
        <a:p>
          <a:endParaRPr lang="en-US"/>
        </a:p>
      </dgm:t>
    </dgm:pt>
    <dgm:pt modelId="{23A1CA50-7FED-4E5F-8313-0FE56FC36EE8}" type="sibTrans" cxnId="{DE559F9D-327D-4DC0-8FBF-B7F32FA6BFB0}">
      <dgm:prSet/>
      <dgm:spPr/>
      <dgm:t>
        <a:bodyPr/>
        <a:lstStyle/>
        <a:p>
          <a:endParaRPr lang="en-US"/>
        </a:p>
      </dgm:t>
    </dgm:pt>
    <dgm:pt modelId="{F80CA93F-813F-4A54-9AD4-9535E8F4585A}">
      <dgm:prSet/>
      <dgm:spPr/>
      <dgm:t>
        <a:bodyPr/>
        <a:lstStyle/>
        <a:p>
          <a:r>
            <a:rPr lang="en-US" baseline="0"/>
            <a:t>Correct fragmentation </a:t>
          </a:r>
          <a:endParaRPr lang="en-US"/>
        </a:p>
      </dgm:t>
    </dgm:pt>
    <dgm:pt modelId="{ECEE077E-90DD-41CF-9348-915E43EC893E}" type="parTrans" cxnId="{2E254FAF-74E8-48BF-A1DE-33EFA7649810}">
      <dgm:prSet/>
      <dgm:spPr/>
      <dgm:t>
        <a:bodyPr/>
        <a:lstStyle/>
        <a:p>
          <a:endParaRPr lang="en-US"/>
        </a:p>
      </dgm:t>
    </dgm:pt>
    <dgm:pt modelId="{98BE8DB2-9D55-4C85-8055-33181DDEC957}" type="sibTrans" cxnId="{2E254FAF-74E8-48BF-A1DE-33EFA7649810}">
      <dgm:prSet/>
      <dgm:spPr/>
      <dgm:t>
        <a:bodyPr/>
        <a:lstStyle/>
        <a:p>
          <a:endParaRPr lang="en-US"/>
        </a:p>
      </dgm:t>
    </dgm:pt>
    <dgm:pt modelId="{DFEBAC53-ABEE-46F0-88C7-F29B8979E196}">
      <dgm:prSet/>
      <dgm:spPr/>
      <dgm:t>
        <a:bodyPr/>
        <a:lstStyle/>
        <a:p>
          <a:r>
            <a:rPr lang="en-US" baseline="0" dirty="0"/>
            <a:t>Can remove Index fragmentation using Rebuild or Reorganize option</a:t>
          </a:r>
          <a:endParaRPr lang="en-US" dirty="0"/>
        </a:p>
      </dgm:t>
    </dgm:pt>
    <dgm:pt modelId="{43DEFF3C-E7AD-427E-B374-B865738750C3}" type="parTrans" cxnId="{9823B134-D0F5-4D33-9B4B-AC5E1EF0C12E}">
      <dgm:prSet/>
      <dgm:spPr/>
      <dgm:t>
        <a:bodyPr/>
        <a:lstStyle/>
        <a:p>
          <a:endParaRPr lang="en-US"/>
        </a:p>
      </dgm:t>
    </dgm:pt>
    <dgm:pt modelId="{749DB640-9308-4E12-A84C-826733F37C1F}" type="sibTrans" cxnId="{9823B134-D0F5-4D33-9B4B-AC5E1EF0C12E}">
      <dgm:prSet/>
      <dgm:spPr/>
      <dgm:t>
        <a:bodyPr/>
        <a:lstStyle/>
        <a:p>
          <a:endParaRPr lang="en-US"/>
        </a:p>
      </dgm:t>
    </dgm:pt>
    <dgm:pt modelId="{8E3175E2-1AE8-46DF-998D-2AC3C2F23AB6}" type="pres">
      <dgm:prSet presAssocID="{CC879D35-8B4C-4075-98AB-550F8BC0C5D5}" presName="linear" presStyleCnt="0">
        <dgm:presLayoutVars>
          <dgm:animLvl val="lvl"/>
          <dgm:resizeHandles val="exact"/>
        </dgm:presLayoutVars>
      </dgm:prSet>
      <dgm:spPr/>
    </dgm:pt>
    <dgm:pt modelId="{5D7E8D5E-8383-4E44-9DEE-A46E2F6F411D}" type="pres">
      <dgm:prSet presAssocID="{94A18463-413F-4B2D-BCD8-40CCF5850E34}" presName="parentText" presStyleLbl="node1" presStyleIdx="0" presStyleCnt="3">
        <dgm:presLayoutVars>
          <dgm:chMax val="0"/>
          <dgm:bulletEnabled val="1"/>
        </dgm:presLayoutVars>
      </dgm:prSet>
      <dgm:spPr/>
    </dgm:pt>
    <dgm:pt modelId="{3C3A9C73-13F5-4745-B924-AC072078D9C3}" type="pres">
      <dgm:prSet presAssocID="{94A18463-413F-4B2D-BCD8-40CCF5850E34}" presName="childText" presStyleLbl="revTx" presStyleIdx="0" presStyleCnt="2">
        <dgm:presLayoutVars>
          <dgm:bulletEnabled val="1"/>
        </dgm:presLayoutVars>
      </dgm:prSet>
      <dgm:spPr/>
    </dgm:pt>
    <dgm:pt modelId="{527B0900-1F74-4410-9055-BDF20697AA77}" type="pres">
      <dgm:prSet presAssocID="{D829DDF6-191C-42CE-B034-261D7BBDA1C2}" presName="parentText" presStyleLbl="node1" presStyleIdx="1" presStyleCnt="3">
        <dgm:presLayoutVars>
          <dgm:chMax val="0"/>
          <dgm:bulletEnabled val="1"/>
        </dgm:presLayoutVars>
      </dgm:prSet>
      <dgm:spPr/>
    </dgm:pt>
    <dgm:pt modelId="{46565560-501A-4FBE-9891-99F6FDFD5FB7}" type="pres">
      <dgm:prSet presAssocID="{D829DDF6-191C-42CE-B034-261D7BBDA1C2}" presName="childText" presStyleLbl="revTx" presStyleIdx="1" presStyleCnt="2">
        <dgm:presLayoutVars>
          <dgm:bulletEnabled val="1"/>
        </dgm:presLayoutVars>
      </dgm:prSet>
      <dgm:spPr/>
    </dgm:pt>
    <dgm:pt modelId="{FEBA1E8B-15A8-4350-ACDB-E786E9AD7607}" type="pres">
      <dgm:prSet presAssocID="{DFEBAC53-ABEE-46F0-88C7-F29B8979E196}" presName="parentText" presStyleLbl="node1" presStyleIdx="2" presStyleCnt="3">
        <dgm:presLayoutVars>
          <dgm:chMax val="0"/>
          <dgm:bulletEnabled val="1"/>
        </dgm:presLayoutVars>
      </dgm:prSet>
      <dgm:spPr/>
    </dgm:pt>
  </dgm:ptLst>
  <dgm:cxnLst>
    <dgm:cxn modelId="{DDEB4301-CDD5-4A98-B12D-25FA70216129}" srcId="{CC879D35-8B4C-4075-98AB-550F8BC0C5D5}" destId="{94A18463-413F-4B2D-BCD8-40CCF5850E34}" srcOrd="0" destOrd="0" parTransId="{BB7FA90C-751C-4DA4-B45B-1B31797FB2E0}" sibTransId="{AEC3F5E2-E180-4358-B38C-A28CB8B98D76}"/>
    <dgm:cxn modelId="{9AC0B70E-9136-4DA3-9A6D-C4986F4B2BBE}" srcId="{94A18463-413F-4B2D-BCD8-40CCF5850E34}" destId="{C3AB487F-DD2E-4872-9719-0CD9B0503C03}" srcOrd="0" destOrd="0" parTransId="{8E0BB17A-2E10-41F3-B141-B0010DEED561}" sibTransId="{86D22D12-B329-4D2A-B822-34E903A597E7}"/>
    <dgm:cxn modelId="{9823B134-D0F5-4D33-9B4B-AC5E1EF0C12E}" srcId="{CC879D35-8B4C-4075-98AB-550F8BC0C5D5}" destId="{DFEBAC53-ABEE-46F0-88C7-F29B8979E196}" srcOrd="2" destOrd="0" parTransId="{43DEFF3C-E7AD-427E-B374-B865738750C3}" sibTransId="{749DB640-9308-4E12-A84C-826733F37C1F}"/>
    <dgm:cxn modelId="{E233AD3C-B3E6-4049-B62A-53B219DBA7EA}" type="presOf" srcId="{F80CA93F-813F-4A54-9AD4-9535E8F4585A}" destId="{46565560-501A-4FBE-9891-99F6FDFD5FB7}" srcOrd="0" destOrd="1" presId="urn:microsoft.com/office/officeart/2005/8/layout/vList2"/>
    <dgm:cxn modelId="{5577215A-6992-4381-83F5-FDCCB02301CA}" type="presOf" srcId="{D829DDF6-191C-42CE-B034-261D7BBDA1C2}" destId="{527B0900-1F74-4410-9055-BDF20697AA77}" srcOrd="0" destOrd="0" presId="urn:microsoft.com/office/officeart/2005/8/layout/vList2"/>
    <dgm:cxn modelId="{B690F986-3EEB-497F-8624-9A812AC63575}" srcId="{CC879D35-8B4C-4075-98AB-550F8BC0C5D5}" destId="{D829DDF6-191C-42CE-B034-261D7BBDA1C2}" srcOrd="1" destOrd="0" parTransId="{E674B723-CC4A-4E70-9260-F7EA07D29DBF}" sibTransId="{8D094E88-2F52-4C78-8BBA-8DC64D4005B2}"/>
    <dgm:cxn modelId="{9DDDC296-E081-4150-9AD5-7F3506C65921}" type="presOf" srcId="{53EBF035-6E3B-42DB-B1B0-6D8DA3B55269}" destId="{46565560-501A-4FBE-9891-99F6FDFD5FB7}" srcOrd="0" destOrd="0" presId="urn:microsoft.com/office/officeart/2005/8/layout/vList2"/>
    <dgm:cxn modelId="{DE559F9D-327D-4DC0-8FBF-B7F32FA6BFB0}" srcId="{D829DDF6-191C-42CE-B034-261D7BBDA1C2}" destId="{53EBF035-6E3B-42DB-B1B0-6D8DA3B55269}" srcOrd="0" destOrd="0" parTransId="{316C303F-B534-4B7D-BEFA-73F8033770CC}" sibTransId="{23A1CA50-7FED-4E5F-8313-0FE56FC36EE8}"/>
    <dgm:cxn modelId="{2A15FBA6-8845-4DA7-B32D-A2CB676DA8DD}" type="presOf" srcId="{C3AB487F-DD2E-4872-9719-0CD9B0503C03}" destId="{3C3A9C73-13F5-4745-B924-AC072078D9C3}" srcOrd="0" destOrd="0" presId="urn:microsoft.com/office/officeart/2005/8/layout/vList2"/>
    <dgm:cxn modelId="{2E254FAF-74E8-48BF-A1DE-33EFA7649810}" srcId="{D829DDF6-191C-42CE-B034-261D7BBDA1C2}" destId="{F80CA93F-813F-4A54-9AD4-9535E8F4585A}" srcOrd="1" destOrd="0" parTransId="{ECEE077E-90DD-41CF-9348-915E43EC893E}" sibTransId="{98BE8DB2-9D55-4C85-8055-33181DDEC957}"/>
    <dgm:cxn modelId="{E27967CE-5670-4B08-A240-9C2DA09BF747}" type="presOf" srcId="{CC879D35-8B4C-4075-98AB-550F8BC0C5D5}" destId="{8E3175E2-1AE8-46DF-998D-2AC3C2F23AB6}" srcOrd="0" destOrd="0" presId="urn:microsoft.com/office/officeart/2005/8/layout/vList2"/>
    <dgm:cxn modelId="{539570F1-1EF2-43E4-B019-F5BD8DDCD705}" type="presOf" srcId="{DFEBAC53-ABEE-46F0-88C7-F29B8979E196}" destId="{FEBA1E8B-15A8-4350-ACDB-E786E9AD7607}" srcOrd="0" destOrd="0" presId="urn:microsoft.com/office/officeart/2005/8/layout/vList2"/>
    <dgm:cxn modelId="{E5E384FD-7450-466A-84F5-2D6D62215DC3}" type="presOf" srcId="{94A18463-413F-4B2D-BCD8-40CCF5850E34}" destId="{5D7E8D5E-8383-4E44-9DEE-A46E2F6F411D}" srcOrd="0" destOrd="0" presId="urn:microsoft.com/office/officeart/2005/8/layout/vList2"/>
    <dgm:cxn modelId="{01222B29-B3FC-4A4B-B07D-41476B1F9E9B}" type="presParOf" srcId="{8E3175E2-1AE8-46DF-998D-2AC3C2F23AB6}" destId="{5D7E8D5E-8383-4E44-9DEE-A46E2F6F411D}" srcOrd="0" destOrd="0" presId="urn:microsoft.com/office/officeart/2005/8/layout/vList2"/>
    <dgm:cxn modelId="{C3D86FCB-733A-445C-9E68-205409E986A8}" type="presParOf" srcId="{8E3175E2-1AE8-46DF-998D-2AC3C2F23AB6}" destId="{3C3A9C73-13F5-4745-B924-AC072078D9C3}" srcOrd="1" destOrd="0" presId="urn:microsoft.com/office/officeart/2005/8/layout/vList2"/>
    <dgm:cxn modelId="{FBF1B3D9-1DAB-48DA-888A-715D25B1374D}" type="presParOf" srcId="{8E3175E2-1AE8-46DF-998D-2AC3C2F23AB6}" destId="{527B0900-1F74-4410-9055-BDF20697AA77}" srcOrd="2" destOrd="0" presId="urn:microsoft.com/office/officeart/2005/8/layout/vList2"/>
    <dgm:cxn modelId="{4F7FA5CE-E2BD-43DB-B6BA-5B9636FE8694}" type="presParOf" srcId="{8E3175E2-1AE8-46DF-998D-2AC3C2F23AB6}" destId="{46565560-501A-4FBE-9891-99F6FDFD5FB7}" srcOrd="3" destOrd="0" presId="urn:microsoft.com/office/officeart/2005/8/layout/vList2"/>
    <dgm:cxn modelId="{A19415AC-B191-485D-82DE-721114F8BC90}" type="presParOf" srcId="{8E3175E2-1AE8-46DF-998D-2AC3C2F23AB6}" destId="{FEBA1E8B-15A8-4350-ACDB-E786E9AD760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66C9E6B-3268-4E6D-9140-043A0F8C21B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21939C59-C26C-4F5B-94FD-6ED37D71800F}">
      <dgm:prSet custT="1"/>
      <dgm:spPr/>
      <dgm:t>
        <a:bodyPr/>
        <a:lstStyle/>
        <a:p>
          <a:r>
            <a:rPr lang="en-US" sz="2400" baseline="0"/>
            <a:t>Reducing logical fragmentation.</a:t>
          </a:r>
          <a:endParaRPr lang="en-US" sz="2400" dirty="0"/>
        </a:p>
      </dgm:t>
    </dgm:pt>
    <dgm:pt modelId="{2AE12DD6-F8B0-4F60-A18C-783A218F7F75}" type="parTrans" cxnId="{B73706A1-BFF7-4391-9280-2085DD24AEFC}">
      <dgm:prSet/>
      <dgm:spPr/>
      <dgm:t>
        <a:bodyPr/>
        <a:lstStyle/>
        <a:p>
          <a:endParaRPr lang="en-US"/>
        </a:p>
      </dgm:t>
    </dgm:pt>
    <dgm:pt modelId="{EF0F687F-725B-45A7-8D64-C86515D38A48}" type="sibTrans" cxnId="{B73706A1-BFF7-4391-9280-2085DD24AEFC}">
      <dgm:prSet/>
      <dgm:spPr/>
      <dgm:t>
        <a:bodyPr/>
        <a:lstStyle/>
        <a:p>
          <a:endParaRPr lang="en-US"/>
        </a:p>
      </dgm:t>
    </dgm:pt>
    <dgm:pt modelId="{8AA91AFB-4E89-4020-8018-E2188FF3477C}">
      <dgm:prSet custT="1"/>
      <dgm:spPr/>
      <dgm:t>
        <a:bodyPr/>
        <a:lstStyle/>
        <a:p>
          <a:r>
            <a:rPr lang="en-US" sz="2400" baseline="0"/>
            <a:t>Low fragmentation </a:t>
          </a:r>
          <a:endParaRPr lang="en-US" sz="2400"/>
        </a:p>
      </dgm:t>
    </dgm:pt>
    <dgm:pt modelId="{E54BCAA0-0970-48DE-933D-7522E0E27230}" type="parTrans" cxnId="{52B75D09-5FBB-46FD-A16E-A87882616357}">
      <dgm:prSet/>
      <dgm:spPr/>
      <dgm:t>
        <a:bodyPr/>
        <a:lstStyle/>
        <a:p>
          <a:endParaRPr lang="en-US"/>
        </a:p>
      </dgm:t>
    </dgm:pt>
    <dgm:pt modelId="{57D262C1-EF50-4B9A-8704-3B60F9C7B885}" type="sibTrans" cxnId="{52B75D09-5FBB-46FD-A16E-A87882616357}">
      <dgm:prSet/>
      <dgm:spPr/>
      <dgm:t>
        <a:bodyPr/>
        <a:lstStyle/>
        <a:p>
          <a:endParaRPr lang="en-US"/>
        </a:p>
      </dgm:t>
    </dgm:pt>
    <dgm:pt modelId="{8875C65F-C839-4D6E-AF54-8F7E18DE0FD1}">
      <dgm:prSet custT="1"/>
      <dgm:spPr/>
      <dgm:t>
        <a:bodyPr/>
        <a:lstStyle/>
        <a:p>
          <a:r>
            <a:rPr lang="en-US" sz="2400" baseline="0"/>
            <a:t>High seeks and low scans </a:t>
          </a:r>
          <a:endParaRPr lang="en-US" sz="2400"/>
        </a:p>
      </dgm:t>
    </dgm:pt>
    <dgm:pt modelId="{C15702DD-1418-49EB-8520-47930707AE0B}" type="parTrans" cxnId="{77C0788C-91BA-4FAB-AB39-014E9196025E}">
      <dgm:prSet/>
      <dgm:spPr/>
      <dgm:t>
        <a:bodyPr/>
        <a:lstStyle/>
        <a:p>
          <a:endParaRPr lang="en-US"/>
        </a:p>
      </dgm:t>
    </dgm:pt>
    <dgm:pt modelId="{B37E762E-D91A-4BBF-8A1E-33B086A3ED75}" type="sibTrans" cxnId="{77C0788C-91BA-4FAB-AB39-014E9196025E}">
      <dgm:prSet/>
      <dgm:spPr/>
      <dgm:t>
        <a:bodyPr/>
        <a:lstStyle/>
        <a:p>
          <a:endParaRPr lang="en-US"/>
        </a:p>
      </dgm:t>
    </dgm:pt>
    <dgm:pt modelId="{CA0AAA13-F00C-4645-8218-CC3FD686D376}">
      <dgm:prSet custT="1"/>
      <dgm:spPr/>
      <dgm:t>
        <a:bodyPr/>
        <a:lstStyle/>
        <a:p>
          <a:r>
            <a:rPr lang="en-US" sz="2400" baseline="0"/>
            <a:t>Index is not scanned</a:t>
          </a:r>
          <a:endParaRPr lang="en-US" sz="2400"/>
        </a:p>
      </dgm:t>
    </dgm:pt>
    <dgm:pt modelId="{F1C37134-89A3-4264-81BA-FD0F079B1570}" type="parTrans" cxnId="{F263CB87-BCB9-41D4-9346-508651AC11C1}">
      <dgm:prSet/>
      <dgm:spPr/>
      <dgm:t>
        <a:bodyPr/>
        <a:lstStyle/>
        <a:p>
          <a:endParaRPr lang="en-US"/>
        </a:p>
      </dgm:t>
    </dgm:pt>
    <dgm:pt modelId="{41E277FA-741B-446C-87DE-11F695D33835}" type="sibTrans" cxnId="{F263CB87-BCB9-41D4-9346-508651AC11C1}">
      <dgm:prSet/>
      <dgm:spPr/>
      <dgm:t>
        <a:bodyPr/>
        <a:lstStyle/>
        <a:p>
          <a:endParaRPr lang="en-US"/>
        </a:p>
      </dgm:t>
    </dgm:pt>
    <dgm:pt modelId="{84D9F659-7CBB-430E-82B4-725FC2DBE51D}">
      <dgm:prSet custT="1"/>
      <dgm:spPr/>
      <dgm:t>
        <a:bodyPr/>
        <a:lstStyle/>
        <a:p>
          <a:r>
            <a:rPr lang="en-US" sz="2400"/>
            <a:t>Use When</a:t>
          </a:r>
          <a:endParaRPr lang="en-US" sz="2400" dirty="0"/>
        </a:p>
      </dgm:t>
    </dgm:pt>
    <dgm:pt modelId="{809D0AA7-EE06-4883-A7ED-72B238308CC1}" type="parTrans" cxnId="{713B4BB6-679B-4301-9707-467FBB0BBF4F}">
      <dgm:prSet/>
      <dgm:spPr/>
      <dgm:t>
        <a:bodyPr/>
        <a:lstStyle/>
        <a:p>
          <a:endParaRPr lang="en-US"/>
        </a:p>
      </dgm:t>
    </dgm:pt>
    <dgm:pt modelId="{641C1997-4C46-44B2-97BF-799BDEF66F14}" type="sibTrans" cxnId="{713B4BB6-679B-4301-9707-467FBB0BBF4F}">
      <dgm:prSet/>
      <dgm:spPr/>
      <dgm:t>
        <a:bodyPr/>
        <a:lstStyle/>
        <a:p>
          <a:endParaRPr lang="en-US"/>
        </a:p>
      </dgm:t>
    </dgm:pt>
    <dgm:pt modelId="{8A0F6DDA-09B6-45A2-BE4A-58D033A0E518}">
      <dgm:prSet custT="1"/>
      <dgm:spPr/>
      <dgm:t>
        <a:bodyPr/>
        <a:lstStyle/>
        <a:p>
          <a:r>
            <a:rPr lang="en-US" sz="2400" baseline="0"/>
            <a:t>Specifying the amount of free space on a data or index page.</a:t>
          </a:r>
          <a:endParaRPr lang="en-US" sz="2400" dirty="0"/>
        </a:p>
      </dgm:t>
    </dgm:pt>
    <dgm:pt modelId="{F7C54A21-F892-46FE-A8B9-0452E9711B26}" type="parTrans" cxnId="{232DC16E-3067-4C7C-8F46-106F16DCF0AB}">
      <dgm:prSet/>
      <dgm:spPr/>
      <dgm:t>
        <a:bodyPr/>
        <a:lstStyle/>
        <a:p>
          <a:endParaRPr lang="en-US"/>
        </a:p>
      </dgm:t>
    </dgm:pt>
    <dgm:pt modelId="{AD120AE0-F551-4F06-AA7B-46623E1F9668}" type="sibTrans" cxnId="{232DC16E-3067-4C7C-8F46-106F16DCF0AB}">
      <dgm:prSet/>
      <dgm:spPr/>
      <dgm:t>
        <a:bodyPr/>
        <a:lstStyle/>
        <a:p>
          <a:endParaRPr lang="en-US"/>
        </a:p>
      </dgm:t>
    </dgm:pt>
    <dgm:pt modelId="{3DE478A1-37DC-40E8-B68B-87F4DE586A91}">
      <dgm:prSet custT="1"/>
      <dgm:spPr/>
      <dgm:t>
        <a:bodyPr/>
        <a:lstStyle/>
        <a:p>
          <a:r>
            <a:rPr lang="en-US" sz="2400" baseline="0"/>
            <a:t>Do not use when</a:t>
          </a:r>
          <a:endParaRPr lang="en-US" sz="2400" dirty="0"/>
        </a:p>
      </dgm:t>
    </dgm:pt>
    <dgm:pt modelId="{CD8D3B11-6021-4229-AB66-4F79ED292271}" type="parTrans" cxnId="{5A8B5811-5797-495A-A949-29F8ED94941A}">
      <dgm:prSet/>
      <dgm:spPr/>
      <dgm:t>
        <a:bodyPr/>
        <a:lstStyle/>
        <a:p>
          <a:endParaRPr lang="en-US"/>
        </a:p>
      </dgm:t>
    </dgm:pt>
    <dgm:pt modelId="{C764E329-E622-4211-BE92-8D37974AE5F5}" type="sibTrans" cxnId="{5A8B5811-5797-495A-A949-29F8ED94941A}">
      <dgm:prSet/>
      <dgm:spPr/>
      <dgm:t>
        <a:bodyPr/>
        <a:lstStyle/>
        <a:p>
          <a:endParaRPr lang="en-US"/>
        </a:p>
      </dgm:t>
    </dgm:pt>
    <dgm:pt modelId="{74C8D98F-786C-461B-ABA6-D51E9D63DEB4}" type="pres">
      <dgm:prSet presAssocID="{A66C9E6B-3268-4E6D-9140-043A0F8C21B2}" presName="Name0" presStyleCnt="0">
        <dgm:presLayoutVars>
          <dgm:dir/>
          <dgm:animLvl val="lvl"/>
          <dgm:resizeHandles val="exact"/>
        </dgm:presLayoutVars>
      </dgm:prSet>
      <dgm:spPr/>
    </dgm:pt>
    <dgm:pt modelId="{B6E87C3F-758C-428D-BE10-3CD372D43D49}" type="pres">
      <dgm:prSet presAssocID="{84D9F659-7CBB-430E-82B4-725FC2DBE51D}" presName="composite" presStyleCnt="0"/>
      <dgm:spPr/>
    </dgm:pt>
    <dgm:pt modelId="{DEDF2FDF-2315-4A7F-B321-05793ABBFEDC}" type="pres">
      <dgm:prSet presAssocID="{84D9F659-7CBB-430E-82B4-725FC2DBE51D}" presName="parTx" presStyleLbl="alignNode1" presStyleIdx="0" presStyleCnt="2">
        <dgm:presLayoutVars>
          <dgm:chMax val="0"/>
          <dgm:chPref val="0"/>
          <dgm:bulletEnabled val="1"/>
        </dgm:presLayoutVars>
      </dgm:prSet>
      <dgm:spPr/>
    </dgm:pt>
    <dgm:pt modelId="{E1CD9CB1-F7ED-4DB5-899B-0BB904D6A666}" type="pres">
      <dgm:prSet presAssocID="{84D9F659-7CBB-430E-82B4-725FC2DBE51D}" presName="desTx" presStyleLbl="alignAccFollowNode1" presStyleIdx="0" presStyleCnt="2">
        <dgm:presLayoutVars>
          <dgm:bulletEnabled val="1"/>
        </dgm:presLayoutVars>
      </dgm:prSet>
      <dgm:spPr/>
    </dgm:pt>
    <dgm:pt modelId="{74DE0D2C-6738-4BC6-BC9F-3CF756E5348B}" type="pres">
      <dgm:prSet presAssocID="{641C1997-4C46-44B2-97BF-799BDEF66F14}" presName="space" presStyleCnt="0"/>
      <dgm:spPr/>
    </dgm:pt>
    <dgm:pt modelId="{D432A94B-871D-433B-8B67-95248593F158}" type="pres">
      <dgm:prSet presAssocID="{3DE478A1-37DC-40E8-B68B-87F4DE586A91}" presName="composite" presStyleCnt="0"/>
      <dgm:spPr/>
    </dgm:pt>
    <dgm:pt modelId="{298A840C-4A90-4965-8317-4CE942FBD989}" type="pres">
      <dgm:prSet presAssocID="{3DE478A1-37DC-40E8-B68B-87F4DE586A91}" presName="parTx" presStyleLbl="alignNode1" presStyleIdx="1" presStyleCnt="2">
        <dgm:presLayoutVars>
          <dgm:chMax val="0"/>
          <dgm:chPref val="0"/>
          <dgm:bulletEnabled val="1"/>
        </dgm:presLayoutVars>
      </dgm:prSet>
      <dgm:spPr/>
    </dgm:pt>
    <dgm:pt modelId="{44FA1635-E70E-4D37-83E3-3316FEE79DEE}" type="pres">
      <dgm:prSet presAssocID="{3DE478A1-37DC-40E8-B68B-87F4DE586A91}" presName="desTx" presStyleLbl="alignAccFollowNode1" presStyleIdx="1" presStyleCnt="2">
        <dgm:presLayoutVars>
          <dgm:bulletEnabled val="1"/>
        </dgm:presLayoutVars>
      </dgm:prSet>
      <dgm:spPr/>
    </dgm:pt>
  </dgm:ptLst>
  <dgm:cxnLst>
    <dgm:cxn modelId="{52B75D09-5FBB-46FD-A16E-A87882616357}" srcId="{3DE478A1-37DC-40E8-B68B-87F4DE586A91}" destId="{8AA91AFB-4E89-4020-8018-E2188FF3477C}" srcOrd="0" destOrd="0" parTransId="{E54BCAA0-0970-48DE-933D-7522E0E27230}" sibTransId="{57D262C1-EF50-4B9A-8704-3B60F9C7B885}"/>
    <dgm:cxn modelId="{5A8B5811-5797-495A-A949-29F8ED94941A}" srcId="{A66C9E6B-3268-4E6D-9140-043A0F8C21B2}" destId="{3DE478A1-37DC-40E8-B68B-87F4DE586A91}" srcOrd="1" destOrd="0" parTransId="{CD8D3B11-6021-4229-AB66-4F79ED292271}" sibTransId="{C764E329-E622-4211-BE92-8D37974AE5F5}"/>
    <dgm:cxn modelId="{7706D33B-F7FE-4984-8266-32270DF6F4D4}" type="presOf" srcId="{8875C65F-C839-4D6E-AF54-8F7E18DE0FD1}" destId="{44FA1635-E70E-4D37-83E3-3316FEE79DEE}" srcOrd="0" destOrd="1" presId="urn:microsoft.com/office/officeart/2005/8/layout/hList1"/>
    <dgm:cxn modelId="{10369042-A3BF-44EF-A979-D577CA3C2048}" type="presOf" srcId="{A66C9E6B-3268-4E6D-9140-043A0F8C21B2}" destId="{74C8D98F-786C-461B-ABA6-D51E9D63DEB4}" srcOrd="0" destOrd="0" presId="urn:microsoft.com/office/officeart/2005/8/layout/hList1"/>
    <dgm:cxn modelId="{50F3B86C-A68F-4F02-AE24-278BE792F733}" type="presOf" srcId="{8AA91AFB-4E89-4020-8018-E2188FF3477C}" destId="{44FA1635-E70E-4D37-83E3-3316FEE79DEE}" srcOrd="0" destOrd="0" presId="urn:microsoft.com/office/officeart/2005/8/layout/hList1"/>
    <dgm:cxn modelId="{232DC16E-3067-4C7C-8F46-106F16DCF0AB}" srcId="{84D9F659-7CBB-430E-82B4-725FC2DBE51D}" destId="{8A0F6DDA-09B6-45A2-BE4A-58D033A0E518}" srcOrd="0" destOrd="0" parTransId="{F7C54A21-F892-46FE-A8B9-0452E9711B26}" sibTransId="{AD120AE0-F551-4F06-AA7B-46623E1F9668}"/>
    <dgm:cxn modelId="{F263CB87-BCB9-41D4-9346-508651AC11C1}" srcId="{3DE478A1-37DC-40E8-B68B-87F4DE586A91}" destId="{CA0AAA13-F00C-4645-8218-CC3FD686D376}" srcOrd="2" destOrd="0" parTransId="{F1C37134-89A3-4264-81BA-FD0F079B1570}" sibTransId="{41E277FA-741B-446C-87DE-11F695D33835}"/>
    <dgm:cxn modelId="{77C0788C-91BA-4FAB-AB39-014E9196025E}" srcId="{3DE478A1-37DC-40E8-B68B-87F4DE586A91}" destId="{8875C65F-C839-4D6E-AF54-8F7E18DE0FD1}" srcOrd="1" destOrd="0" parTransId="{C15702DD-1418-49EB-8520-47930707AE0B}" sibTransId="{B37E762E-D91A-4BBF-8A1E-33B086A3ED75}"/>
    <dgm:cxn modelId="{E086459A-9C3B-4445-BC95-6E5113B9061A}" type="presOf" srcId="{84D9F659-7CBB-430E-82B4-725FC2DBE51D}" destId="{DEDF2FDF-2315-4A7F-B321-05793ABBFEDC}" srcOrd="0" destOrd="0" presId="urn:microsoft.com/office/officeart/2005/8/layout/hList1"/>
    <dgm:cxn modelId="{B73706A1-BFF7-4391-9280-2085DD24AEFC}" srcId="{84D9F659-7CBB-430E-82B4-725FC2DBE51D}" destId="{21939C59-C26C-4F5B-94FD-6ED37D71800F}" srcOrd="1" destOrd="0" parTransId="{2AE12DD6-F8B0-4F60-A18C-783A218F7F75}" sibTransId="{EF0F687F-725B-45A7-8D64-C86515D38A48}"/>
    <dgm:cxn modelId="{713B4BB6-679B-4301-9707-467FBB0BBF4F}" srcId="{A66C9E6B-3268-4E6D-9140-043A0F8C21B2}" destId="{84D9F659-7CBB-430E-82B4-725FC2DBE51D}" srcOrd="0" destOrd="0" parTransId="{809D0AA7-EE06-4883-A7ED-72B238308CC1}" sibTransId="{641C1997-4C46-44B2-97BF-799BDEF66F14}"/>
    <dgm:cxn modelId="{BB639ABF-3118-4B75-A915-4250ED149854}" type="presOf" srcId="{3DE478A1-37DC-40E8-B68B-87F4DE586A91}" destId="{298A840C-4A90-4965-8317-4CE942FBD989}" srcOrd="0" destOrd="0" presId="urn:microsoft.com/office/officeart/2005/8/layout/hList1"/>
    <dgm:cxn modelId="{0D6CEAC9-D4E9-421D-A6E7-80884B8E16A0}" type="presOf" srcId="{21939C59-C26C-4F5B-94FD-6ED37D71800F}" destId="{E1CD9CB1-F7ED-4DB5-899B-0BB904D6A666}" srcOrd="0" destOrd="1" presId="urn:microsoft.com/office/officeart/2005/8/layout/hList1"/>
    <dgm:cxn modelId="{E10488DE-67BB-4437-9F47-77B0A1746B47}" type="presOf" srcId="{8A0F6DDA-09B6-45A2-BE4A-58D033A0E518}" destId="{E1CD9CB1-F7ED-4DB5-899B-0BB904D6A666}" srcOrd="0" destOrd="0" presId="urn:microsoft.com/office/officeart/2005/8/layout/hList1"/>
    <dgm:cxn modelId="{59D42CF2-B36B-4D6C-ACF2-CB2266F1787D}" type="presOf" srcId="{CA0AAA13-F00C-4645-8218-CC3FD686D376}" destId="{44FA1635-E70E-4D37-83E3-3316FEE79DEE}" srcOrd="0" destOrd="2" presId="urn:microsoft.com/office/officeart/2005/8/layout/hList1"/>
    <dgm:cxn modelId="{974D290D-9478-4B01-B0C9-EDE7C6255ECA}" type="presParOf" srcId="{74C8D98F-786C-461B-ABA6-D51E9D63DEB4}" destId="{B6E87C3F-758C-428D-BE10-3CD372D43D49}" srcOrd="0" destOrd="0" presId="urn:microsoft.com/office/officeart/2005/8/layout/hList1"/>
    <dgm:cxn modelId="{6D3F8DD9-6A1F-40B9-AB74-D30C92C9453B}" type="presParOf" srcId="{B6E87C3F-758C-428D-BE10-3CD372D43D49}" destId="{DEDF2FDF-2315-4A7F-B321-05793ABBFEDC}" srcOrd="0" destOrd="0" presId="urn:microsoft.com/office/officeart/2005/8/layout/hList1"/>
    <dgm:cxn modelId="{01BE9534-1819-4003-8075-D7C4E205382F}" type="presParOf" srcId="{B6E87C3F-758C-428D-BE10-3CD372D43D49}" destId="{E1CD9CB1-F7ED-4DB5-899B-0BB904D6A666}" srcOrd="1" destOrd="0" presId="urn:microsoft.com/office/officeart/2005/8/layout/hList1"/>
    <dgm:cxn modelId="{5EB92068-F1DE-4339-8835-35F3DD9A0671}" type="presParOf" srcId="{74C8D98F-786C-461B-ABA6-D51E9D63DEB4}" destId="{74DE0D2C-6738-4BC6-BC9F-3CF756E5348B}" srcOrd="1" destOrd="0" presId="urn:microsoft.com/office/officeart/2005/8/layout/hList1"/>
    <dgm:cxn modelId="{7D567035-170D-4A7F-89BE-B21793230E5C}" type="presParOf" srcId="{74C8D98F-786C-461B-ABA6-D51E9D63DEB4}" destId="{D432A94B-871D-433B-8B67-95248593F158}" srcOrd="2" destOrd="0" presId="urn:microsoft.com/office/officeart/2005/8/layout/hList1"/>
    <dgm:cxn modelId="{B844BCE5-0E84-4CBB-AF73-1AFB51EB3C3F}" type="presParOf" srcId="{D432A94B-871D-433B-8B67-95248593F158}" destId="{298A840C-4A90-4965-8317-4CE942FBD989}" srcOrd="0" destOrd="0" presId="urn:microsoft.com/office/officeart/2005/8/layout/hList1"/>
    <dgm:cxn modelId="{2EFEA55C-A2D8-442A-95FF-F5E855AAA1B9}" type="presParOf" srcId="{D432A94B-871D-433B-8B67-95248593F158}" destId="{44FA1635-E70E-4D37-83E3-3316FEE79DE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76125C9C-B9D6-4FA9-BDE6-EB45F912DB71}">
      <dgm:prSet custT="1"/>
      <dgm:spPr/>
      <dgm:t>
        <a:bodyPr/>
        <a:lstStyle/>
        <a:p>
          <a:r>
            <a:rPr lang="en-US" sz="2400" baseline="0"/>
            <a:t>Reducing Fragmentation</a:t>
          </a:r>
          <a:endParaRPr lang="en-US" sz="2400"/>
        </a:p>
      </dgm:t>
    </dgm:pt>
    <dgm:pt modelId="{025DEA07-ACF8-42B3-BC78-68340A67821A}" type="parTrans" cxnId="{11A7313B-5B2D-4B7D-8D33-AC00191F474F}">
      <dgm:prSet/>
      <dgm:spPr/>
      <dgm:t>
        <a:bodyPr/>
        <a:lstStyle/>
        <a:p>
          <a:endParaRPr lang="en-US"/>
        </a:p>
      </dgm:t>
    </dgm:pt>
    <dgm:pt modelId="{639DFF84-3C98-4288-AC40-5BD550E5309E}" type="sibTrans" cxnId="{11A7313B-5B2D-4B7D-8D33-AC00191F474F}">
      <dgm:prSet/>
      <dgm:spPr/>
      <dgm:t>
        <a:bodyPr/>
        <a:lstStyle/>
        <a:p>
          <a:endParaRPr lang="en-US"/>
        </a:p>
      </dgm:t>
    </dgm:pt>
    <dgm:pt modelId="{AAF7EF01-58D7-48A5-A4E4-6AF069AD5FC2}">
      <dgm:prSet custT="1"/>
      <dgm:spPr/>
      <dgm:t>
        <a:bodyPr/>
        <a:lstStyle/>
        <a:p>
          <a:r>
            <a:rPr lang="en-US" sz="2400" baseline="0"/>
            <a:t>Using an ascending key (not always possible).</a:t>
          </a:r>
          <a:endParaRPr lang="en-US" sz="2400"/>
        </a:p>
      </dgm:t>
    </dgm:pt>
    <dgm:pt modelId="{CCD2AEF3-25E0-46F9-8011-D4B4E5A8BBBE}" type="parTrans" cxnId="{96B76FEE-8301-4370-A2CC-5B28BF19523C}">
      <dgm:prSet/>
      <dgm:spPr/>
      <dgm:t>
        <a:bodyPr/>
        <a:lstStyle/>
        <a:p>
          <a:endParaRPr lang="en-US"/>
        </a:p>
      </dgm:t>
    </dgm:pt>
    <dgm:pt modelId="{56D18F4D-1343-467C-A51D-078D8C7BB6EE}" type="sibTrans" cxnId="{96B76FEE-8301-4370-A2CC-5B28BF19523C}">
      <dgm:prSet/>
      <dgm:spPr/>
      <dgm:t>
        <a:bodyPr/>
        <a:lstStyle/>
        <a:p>
          <a:endParaRPr lang="en-US"/>
        </a:p>
      </dgm:t>
    </dgm:pt>
    <dgm:pt modelId="{33BE99E5-517E-4A5E-8FEE-8F762922B59E}">
      <dgm:prSet custT="1"/>
      <dgm:spPr/>
      <dgm:t>
        <a:bodyPr/>
        <a:lstStyle/>
        <a:p>
          <a:r>
            <a:rPr lang="en-US" sz="2400" baseline="0" dirty="0"/>
            <a:t>Using an appropriate fill factor for the workload.</a:t>
          </a:r>
          <a:endParaRPr lang="en-US" sz="2400" dirty="0"/>
        </a:p>
      </dgm:t>
    </dgm:pt>
    <dgm:pt modelId="{9E8B8855-5E11-41C3-9BE4-7B91C21A5ECB}" type="parTrans" cxnId="{C0104F86-683F-4ACE-89AC-30C7BE9674CB}">
      <dgm:prSet/>
      <dgm:spPr/>
      <dgm:t>
        <a:bodyPr/>
        <a:lstStyle/>
        <a:p>
          <a:endParaRPr lang="en-US"/>
        </a:p>
      </dgm:t>
    </dgm:pt>
    <dgm:pt modelId="{1E23E65E-4F50-4FA2-B7D2-B9476F230E7C}" type="sibTrans" cxnId="{C0104F86-683F-4ACE-89AC-30C7BE9674CB}">
      <dgm:prSet/>
      <dgm:spPr/>
      <dgm:t>
        <a:bodyPr/>
        <a:lstStyle/>
        <a:p>
          <a:endParaRPr lang="en-US"/>
        </a:p>
      </dgm:t>
    </dgm:pt>
    <dgm:pt modelId="{51BD1014-C20D-41DE-952E-FC8BBA14DD9E}">
      <dgm:prSet custT="1"/>
      <dgm:spPr/>
      <dgm:t>
        <a:bodyPr/>
        <a:lstStyle/>
        <a:p>
          <a:r>
            <a:rPr lang="en-US" sz="2400" baseline="0"/>
            <a:t>Update in sets, rather than one at a time.</a:t>
          </a:r>
          <a:endParaRPr lang="en-US" sz="2400"/>
        </a:p>
      </dgm:t>
    </dgm:pt>
    <dgm:pt modelId="{CB9F250B-C7D7-46EC-9692-1EC53B12AB70}" type="parTrans" cxnId="{5E1E47D5-B20D-43E0-BFB2-DD783B699830}">
      <dgm:prSet/>
      <dgm:spPr/>
      <dgm:t>
        <a:bodyPr/>
        <a:lstStyle/>
        <a:p>
          <a:endParaRPr lang="en-US"/>
        </a:p>
      </dgm:t>
    </dgm:pt>
    <dgm:pt modelId="{94B1A4DA-3054-4CCA-9209-1BBF66B09DCB}" type="sibTrans" cxnId="{5E1E47D5-B20D-43E0-BFB2-DD783B699830}">
      <dgm:prSet/>
      <dgm:spPr/>
      <dgm:t>
        <a:bodyPr/>
        <a:lstStyle/>
        <a:p>
          <a:endParaRPr lang="en-US"/>
        </a:p>
      </dgm:t>
    </dgm:pt>
    <dgm:pt modelId="{CA9DC729-89BD-4F9F-8F93-1BCA7C703BE6}">
      <dgm:prSet custT="1"/>
      <dgm:spPr/>
      <dgm:t>
        <a:bodyPr/>
        <a:lstStyle/>
        <a:p>
          <a:r>
            <a:rPr lang="en-US" sz="2400" baseline="0"/>
            <a:t>Do not insert with immediate update.</a:t>
          </a:r>
          <a:endParaRPr lang="en-US" sz="2400"/>
        </a:p>
      </dgm:t>
    </dgm:pt>
    <dgm:pt modelId="{5A2259CC-2968-41EF-AABF-B37E5928CCC2}" type="parTrans" cxnId="{CA56E4B7-05BB-4589-8AD2-BC233E6F06E1}">
      <dgm:prSet/>
      <dgm:spPr/>
      <dgm:t>
        <a:bodyPr/>
        <a:lstStyle/>
        <a:p>
          <a:endParaRPr lang="en-US"/>
        </a:p>
      </dgm:t>
    </dgm:pt>
    <dgm:pt modelId="{FB9E403A-4306-4461-B9DF-881A16F6DD00}" type="sibTrans" cxnId="{CA56E4B7-05BB-4589-8AD2-BC233E6F06E1}">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B0407AD7-6961-46D1-B223-94D3671CBB9A}" type="pres">
      <dgm:prSet presAssocID="{76125C9C-B9D6-4FA9-BDE6-EB45F912DB71}" presName="composite" presStyleCnt="0"/>
      <dgm:spPr/>
    </dgm:pt>
    <dgm:pt modelId="{9E739C7F-C83F-410F-9E68-E25ECBD8D6B9}" type="pres">
      <dgm:prSet presAssocID="{76125C9C-B9D6-4FA9-BDE6-EB45F912DB71}" presName="parTx" presStyleLbl="alignNode1" presStyleIdx="0" presStyleCnt="1">
        <dgm:presLayoutVars>
          <dgm:chMax val="0"/>
          <dgm:chPref val="0"/>
          <dgm:bulletEnabled val="1"/>
        </dgm:presLayoutVars>
      </dgm:prSet>
      <dgm:spPr/>
    </dgm:pt>
    <dgm:pt modelId="{3DD469B6-F40B-4C62-BAE0-FFAF84D05CDB}" type="pres">
      <dgm:prSet presAssocID="{76125C9C-B9D6-4FA9-BDE6-EB45F912DB71}" presName="desTx" presStyleLbl="alignAccFollowNode1" presStyleIdx="0" presStyleCnt="1">
        <dgm:presLayoutVars>
          <dgm:bulletEnabled val="1"/>
        </dgm:presLayoutVars>
      </dgm:prSet>
      <dgm:spPr/>
    </dgm:pt>
  </dgm:ptLst>
  <dgm:cxnLst>
    <dgm:cxn modelId="{EC4B4822-CB1A-4C26-BC4C-BEE49AFEABC3}" type="presOf" srcId="{AAF7EF01-58D7-48A5-A4E4-6AF069AD5FC2}" destId="{3DD469B6-F40B-4C62-BAE0-FFAF84D05CDB}" srcOrd="0" destOrd="0" presId="urn:microsoft.com/office/officeart/2005/8/layout/hList1"/>
    <dgm:cxn modelId="{11A7313B-5B2D-4B7D-8D33-AC00191F474F}" srcId="{B184112D-53FE-4D84-AA00-83DDCA9C16DB}" destId="{76125C9C-B9D6-4FA9-BDE6-EB45F912DB71}" srcOrd="0" destOrd="0" parTransId="{025DEA07-ACF8-42B3-BC78-68340A67821A}" sibTransId="{639DFF84-3C98-4288-AC40-5BD550E5309E}"/>
    <dgm:cxn modelId="{04D13144-9458-4687-8858-3CAFA17966AB}" type="presOf" srcId="{76125C9C-B9D6-4FA9-BDE6-EB45F912DB71}" destId="{9E739C7F-C83F-410F-9E68-E25ECBD8D6B9}" srcOrd="0" destOrd="0" presId="urn:microsoft.com/office/officeart/2005/8/layout/hList1"/>
    <dgm:cxn modelId="{EEB65A73-DEE1-47F6-A86E-F915926430D5}" type="presOf" srcId="{33BE99E5-517E-4A5E-8FEE-8F762922B59E}" destId="{3DD469B6-F40B-4C62-BAE0-FFAF84D05CDB}" srcOrd="0" destOrd="1" presId="urn:microsoft.com/office/officeart/2005/8/layout/hList1"/>
    <dgm:cxn modelId="{B946B27F-A8D2-479D-9B8E-043458294113}" type="presOf" srcId="{51BD1014-C20D-41DE-952E-FC8BBA14DD9E}" destId="{3DD469B6-F40B-4C62-BAE0-FFAF84D05CDB}" srcOrd="0" destOrd="2" presId="urn:microsoft.com/office/officeart/2005/8/layout/hList1"/>
    <dgm:cxn modelId="{C0104F86-683F-4ACE-89AC-30C7BE9674CB}" srcId="{76125C9C-B9D6-4FA9-BDE6-EB45F912DB71}" destId="{33BE99E5-517E-4A5E-8FEE-8F762922B59E}" srcOrd="1" destOrd="0" parTransId="{9E8B8855-5E11-41C3-9BE4-7B91C21A5ECB}" sibTransId="{1E23E65E-4F50-4FA2-B7D2-B9476F230E7C}"/>
    <dgm:cxn modelId="{6CB27296-D66E-473B-91ED-7A0EDA6C1143}" type="presOf" srcId="{CA9DC729-89BD-4F9F-8F93-1BCA7C703BE6}" destId="{3DD469B6-F40B-4C62-BAE0-FFAF84D05CDB}" srcOrd="0" destOrd="3" presId="urn:microsoft.com/office/officeart/2005/8/layout/hList1"/>
    <dgm:cxn modelId="{31E2C59B-CE36-4A78-BA2B-AB02DA2E7E03}" type="presOf" srcId="{B184112D-53FE-4D84-AA00-83DDCA9C16DB}" destId="{EC684B26-31D5-4D53-A04B-63B2F32DEB66}" srcOrd="0" destOrd="0" presId="urn:microsoft.com/office/officeart/2005/8/layout/hList1"/>
    <dgm:cxn modelId="{CA56E4B7-05BB-4589-8AD2-BC233E6F06E1}" srcId="{76125C9C-B9D6-4FA9-BDE6-EB45F912DB71}" destId="{CA9DC729-89BD-4F9F-8F93-1BCA7C703BE6}" srcOrd="3" destOrd="0" parTransId="{5A2259CC-2968-41EF-AABF-B37E5928CCC2}" sibTransId="{FB9E403A-4306-4461-B9DF-881A16F6DD00}"/>
    <dgm:cxn modelId="{5E1E47D5-B20D-43E0-BFB2-DD783B699830}" srcId="{76125C9C-B9D6-4FA9-BDE6-EB45F912DB71}" destId="{51BD1014-C20D-41DE-952E-FC8BBA14DD9E}" srcOrd="2" destOrd="0" parTransId="{CB9F250B-C7D7-46EC-9692-1EC53B12AB70}" sibTransId="{94B1A4DA-3054-4CCA-9209-1BBF66B09DCB}"/>
    <dgm:cxn modelId="{96B76FEE-8301-4370-A2CC-5B28BF19523C}" srcId="{76125C9C-B9D6-4FA9-BDE6-EB45F912DB71}" destId="{AAF7EF01-58D7-48A5-A4E4-6AF069AD5FC2}" srcOrd="0" destOrd="0" parTransId="{CCD2AEF3-25E0-46F9-8011-D4B4E5A8BBBE}" sibTransId="{56D18F4D-1343-467C-A51D-078D8C7BB6EE}"/>
    <dgm:cxn modelId="{0616601A-B3D5-4741-BD05-780691DCBDDC}" type="presParOf" srcId="{EC684B26-31D5-4D53-A04B-63B2F32DEB66}" destId="{B0407AD7-6961-46D1-B223-94D3671CBB9A}" srcOrd="0" destOrd="0" presId="urn:microsoft.com/office/officeart/2005/8/layout/hList1"/>
    <dgm:cxn modelId="{0E01D20C-508D-4712-A53B-FF967CE1D559}" type="presParOf" srcId="{B0407AD7-6961-46D1-B223-94D3671CBB9A}" destId="{9E739C7F-C83F-410F-9E68-E25ECBD8D6B9}" srcOrd="0" destOrd="0" presId="urn:microsoft.com/office/officeart/2005/8/layout/hList1"/>
    <dgm:cxn modelId="{49F8146C-C813-48C8-81C8-F8A61D46A65C}" type="presParOf" srcId="{B0407AD7-6961-46D1-B223-94D3671CBB9A}" destId="{3DD469B6-F40B-4C62-BAE0-FFAF84D05CD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41556ACD-E1A5-4B29-9504-D8AEB7027567}">
      <dgm:prSet/>
      <dgm:spPr/>
      <dgm:t>
        <a:bodyPr/>
        <a:lstStyle/>
        <a:p>
          <a:r>
            <a:rPr lang="en-US" baseline="0" dirty="0"/>
            <a:t>A SARGable item in a search predicate is able to use an index.</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aseline="0" dirty="0"/>
            <a:t>Non-SARGable expressions can significantly slow down queries.</a:t>
          </a:r>
          <a:endParaRPr lang="en-US" dirty="0"/>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custLinFactNeighborX="1342" custLinFactNeighborY="-137">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18EEBC7-38BB-4F04-95B3-8A983EEDCF0D}"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E87E0C8-0826-4C34-A432-578C4F85F9A7}">
      <dgm:prSet/>
      <dgm:spPr/>
      <dgm:t>
        <a:bodyPr/>
        <a:lstStyle/>
        <a:p>
          <a:r>
            <a:rPr lang="en-US" baseline="0" dirty="0"/>
            <a:t>SQL Server identifies indexes that would help a query’s performance</a:t>
          </a:r>
          <a:endParaRPr lang="en-US" dirty="0"/>
        </a:p>
      </dgm:t>
    </dgm:pt>
    <dgm:pt modelId="{28A02326-5F1D-48C6-A335-E4196C180A88}" type="parTrans" cxnId="{40303BBE-DE94-464B-B695-2558711BDDEE}">
      <dgm:prSet/>
      <dgm:spPr/>
      <dgm:t>
        <a:bodyPr/>
        <a:lstStyle/>
        <a:p>
          <a:endParaRPr lang="en-US"/>
        </a:p>
      </dgm:t>
    </dgm:pt>
    <dgm:pt modelId="{61E7604E-C3CA-4774-8F04-44DB0BB902A9}" type="sibTrans" cxnId="{40303BBE-DE94-464B-B695-2558711BDDEE}">
      <dgm:prSet/>
      <dgm:spPr/>
      <dgm:t>
        <a:bodyPr/>
        <a:lstStyle/>
        <a:p>
          <a:endParaRPr lang="en-US"/>
        </a:p>
      </dgm:t>
    </dgm:pt>
    <dgm:pt modelId="{86AB8FE3-BEDF-473F-9E73-B238997FEB19}">
      <dgm:prSet/>
      <dgm:spPr/>
      <dgm:t>
        <a:bodyPr/>
        <a:lstStyle/>
        <a:p>
          <a:r>
            <a:rPr lang="en-US" baseline="0"/>
            <a:t>The recommendation is included in the query plan</a:t>
          </a:r>
          <a:endParaRPr lang="en-US"/>
        </a:p>
      </dgm:t>
    </dgm:pt>
    <dgm:pt modelId="{D0B29510-3563-459A-9916-D252ECF0B6DA}" type="parTrans" cxnId="{B3F7691E-AC1D-4C70-9DA6-DBB35EFE3FEC}">
      <dgm:prSet/>
      <dgm:spPr/>
      <dgm:t>
        <a:bodyPr/>
        <a:lstStyle/>
        <a:p>
          <a:endParaRPr lang="en-US"/>
        </a:p>
      </dgm:t>
    </dgm:pt>
    <dgm:pt modelId="{9E493413-E503-4D29-8B8B-7E6333297FB4}" type="sibTrans" cxnId="{B3F7691E-AC1D-4C70-9DA6-DBB35EFE3FEC}">
      <dgm:prSet/>
      <dgm:spPr/>
      <dgm:t>
        <a:bodyPr/>
        <a:lstStyle/>
        <a:p>
          <a:endParaRPr lang="en-US"/>
        </a:p>
      </dgm:t>
    </dgm:pt>
    <dgm:pt modelId="{F6A983FE-35F5-4A52-9C52-ACD1DD7AE52F}">
      <dgm:prSet/>
      <dgm:spPr/>
      <dgm:t>
        <a:bodyPr/>
        <a:lstStyle/>
        <a:p>
          <a:r>
            <a:rPr lang="en-US" baseline="0"/>
            <a:t>The cost savings are aggregated in DMVs to help identify the most beneficial indexes</a:t>
          </a:r>
          <a:endParaRPr lang="en-US"/>
        </a:p>
      </dgm:t>
    </dgm:pt>
    <dgm:pt modelId="{C001EFD0-1F04-458F-A069-7C0E299FA460}" type="parTrans" cxnId="{B989312A-D8AF-4E5B-8EBB-47065C28BBEC}">
      <dgm:prSet/>
      <dgm:spPr/>
      <dgm:t>
        <a:bodyPr/>
        <a:lstStyle/>
        <a:p>
          <a:endParaRPr lang="en-US"/>
        </a:p>
      </dgm:t>
    </dgm:pt>
    <dgm:pt modelId="{D60CB129-83FA-4CBF-B745-72F5DF5DA471}" type="sibTrans" cxnId="{B989312A-D8AF-4E5B-8EBB-47065C28BBEC}">
      <dgm:prSet/>
      <dgm:spPr/>
      <dgm:t>
        <a:bodyPr/>
        <a:lstStyle/>
        <a:p>
          <a:endParaRPr lang="en-US"/>
        </a:p>
      </dgm:t>
    </dgm:pt>
    <dgm:pt modelId="{E4A790C7-B7EA-4FD3-85F3-99C1B9941490}" type="pres">
      <dgm:prSet presAssocID="{D18EEBC7-38BB-4F04-95B3-8A983EEDCF0D}" presName="linear" presStyleCnt="0">
        <dgm:presLayoutVars>
          <dgm:animLvl val="lvl"/>
          <dgm:resizeHandles val="exact"/>
        </dgm:presLayoutVars>
      </dgm:prSet>
      <dgm:spPr/>
    </dgm:pt>
    <dgm:pt modelId="{9522E747-80B4-428E-87B6-E9C0786D8DD2}" type="pres">
      <dgm:prSet presAssocID="{2E87E0C8-0826-4C34-A432-578C4F85F9A7}" presName="parentText" presStyleLbl="node1" presStyleIdx="0" presStyleCnt="3">
        <dgm:presLayoutVars>
          <dgm:chMax val="0"/>
          <dgm:bulletEnabled val="1"/>
        </dgm:presLayoutVars>
      </dgm:prSet>
      <dgm:spPr/>
    </dgm:pt>
    <dgm:pt modelId="{6867DA38-54C4-4A96-830E-7C3783A91059}" type="pres">
      <dgm:prSet presAssocID="{61E7604E-C3CA-4774-8F04-44DB0BB902A9}" presName="spacer" presStyleCnt="0"/>
      <dgm:spPr/>
    </dgm:pt>
    <dgm:pt modelId="{167455E2-0B5B-461E-A12B-4FA37292F744}" type="pres">
      <dgm:prSet presAssocID="{86AB8FE3-BEDF-473F-9E73-B238997FEB19}" presName="parentText" presStyleLbl="node1" presStyleIdx="1" presStyleCnt="3">
        <dgm:presLayoutVars>
          <dgm:chMax val="0"/>
          <dgm:bulletEnabled val="1"/>
        </dgm:presLayoutVars>
      </dgm:prSet>
      <dgm:spPr/>
    </dgm:pt>
    <dgm:pt modelId="{B4C1011B-9D6A-4BDF-9C77-A244A0277198}" type="pres">
      <dgm:prSet presAssocID="{9E493413-E503-4D29-8B8B-7E6333297FB4}" presName="spacer" presStyleCnt="0"/>
      <dgm:spPr/>
    </dgm:pt>
    <dgm:pt modelId="{B0F7C242-ADFC-411C-ADF7-95479B00B896}" type="pres">
      <dgm:prSet presAssocID="{F6A983FE-35F5-4A52-9C52-ACD1DD7AE52F}" presName="parentText" presStyleLbl="node1" presStyleIdx="2" presStyleCnt="3" custLinFactNeighborY="-17181">
        <dgm:presLayoutVars>
          <dgm:chMax val="0"/>
          <dgm:bulletEnabled val="1"/>
        </dgm:presLayoutVars>
      </dgm:prSet>
      <dgm:spPr/>
    </dgm:pt>
  </dgm:ptLst>
  <dgm:cxnLst>
    <dgm:cxn modelId="{B3F7691E-AC1D-4C70-9DA6-DBB35EFE3FEC}" srcId="{D18EEBC7-38BB-4F04-95B3-8A983EEDCF0D}" destId="{86AB8FE3-BEDF-473F-9E73-B238997FEB19}" srcOrd="1" destOrd="0" parTransId="{D0B29510-3563-459A-9916-D252ECF0B6DA}" sibTransId="{9E493413-E503-4D29-8B8B-7E6333297FB4}"/>
    <dgm:cxn modelId="{B4A7AE29-8D96-42EF-A1B7-F0AB58FC270C}" type="presOf" srcId="{D18EEBC7-38BB-4F04-95B3-8A983EEDCF0D}" destId="{E4A790C7-B7EA-4FD3-85F3-99C1B9941490}" srcOrd="0" destOrd="0" presId="urn:microsoft.com/office/officeart/2005/8/layout/vList2"/>
    <dgm:cxn modelId="{B989312A-D8AF-4E5B-8EBB-47065C28BBEC}" srcId="{D18EEBC7-38BB-4F04-95B3-8A983EEDCF0D}" destId="{F6A983FE-35F5-4A52-9C52-ACD1DD7AE52F}" srcOrd="2" destOrd="0" parTransId="{C001EFD0-1F04-458F-A069-7C0E299FA460}" sibTransId="{D60CB129-83FA-4CBF-B745-72F5DF5DA471}"/>
    <dgm:cxn modelId="{9F00535F-7355-4B45-9971-331E80FCA465}" type="presOf" srcId="{F6A983FE-35F5-4A52-9C52-ACD1DD7AE52F}" destId="{B0F7C242-ADFC-411C-ADF7-95479B00B896}" srcOrd="0" destOrd="0" presId="urn:microsoft.com/office/officeart/2005/8/layout/vList2"/>
    <dgm:cxn modelId="{489B90B0-2B4D-46C0-8890-4A41327FD863}" type="presOf" srcId="{2E87E0C8-0826-4C34-A432-578C4F85F9A7}" destId="{9522E747-80B4-428E-87B6-E9C0786D8DD2}" srcOrd="0" destOrd="0" presId="urn:microsoft.com/office/officeart/2005/8/layout/vList2"/>
    <dgm:cxn modelId="{40303BBE-DE94-464B-B695-2558711BDDEE}" srcId="{D18EEBC7-38BB-4F04-95B3-8A983EEDCF0D}" destId="{2E87E0C8-0826-4C34-A432-578C4F85F9A7}" srcOrd="0" destOrd="0" parTransId="{28A02326-5F1D-48C6-A335-E4196C180A88}" sibTransId="{61E7604E-C3CA-4774-8F04-44DB0BB902A9}"/>
    <dgm:cxn modelId="{0DC780CD-D2D1-4892-B3DF-3CC560BD654C}" type="presOf" srcId="{86AB8FE3-BEDF-473F-9E73-B238997FEB19}" destId="{167455E2-0B5B-461E-A12B-4FA37292F744}" srcOrd="0" destOrd="0" presId="urn:microsoft.com/office/officeart/2005/8/layout/vList2"/>
    <dgm:cxn modelId="{18343F70-EF7E-4E3A-8693-CAFB34835F42}" type="presParOf" srcId="{E4A790C7-B7EA-4FD3-85F3-99C1B9941490}" destId="{9522E747-80B4-428E-87B6-E9C0786D8DD2}" srcOrd="0" destOrd="0" presId="urn:microsoft.com/office/officeart/2005/8/layout/vList2"/>
    <dgm:cxn modelId="{8DEC8522-F07E-4F44-A012-0D3C3908AD83}" type="presParOf" srcId="{E4A790C7-B7EA-4FD3-85F3-99C1B9941490}" destId="{6867DA38-54C4-4A96-830E-7C3783A91059}" srcOrd="1" destOrd="0" presId="urn:microsoft.com/office/officeart/2005/8/layout/vList2"/>
    <dgm:cxn modelId="{EEC2CE84-D4E2-40A7-AC69-5C96155181FE}" type="presParOf" srcId="{E4A790C7-B7EA-4FD3-85F3-99C1B9941490}" destId="{167455E2-0B5B-461E-A12B-4FA37292F744}" srcOrd="2" destOrd="0" presId="urn:microsoft.com/office/officeart/2005/8/layout/vList2"/>
    <dgm:cxn modelId="{DF8FA68C-F2C7-40C1-BC7E-89EE5919E7F4}" type="presParOf" srcId="{E4A790C7-B7EA-4FD3-85F3-99C1B9941490}" destId="{B4C1011B-9D6A-4BDF-9C77-A244A0277198}" srcOrd="3" destOrd="0" presId="urn:microsoft.com/office/officeart/2005/8/layout/vList2"/>
    <dgm:cxn modelId="{13DE3798-15F0-4523-A08C-DE6A389D383F}" type="presParOf" srcId="{E4A790C7-B7EA-4FD3-85F3-99C1B9941490}" destId="{B0F7C242-ADFC-411C-ADF7-95479B00B89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F9694EC-2A4C-4627-81B1-447312D9AA61}">
      <dgm:prSet custT="1"/>
      <dgm:spPr/>
      <dgm:t>
        <a:bodyPr/>
        <a:lstStyle/>
        <a:p>
          <a:r>
            <a:rPr lang="en-US" sz="2400" baseline="0" dirty="0"/>
            <a:t>Following sources can help you choosing indexes</a:t>
          </a:r>
          <a:endParaRPr lang="en-US" sz="2400" dirty="0"/>
        </a:p>
      </dgm:t>
    </dgm:pt>
    <dgm:pt modelId="{18929B48-9C47-42BB-B95E-01EE6D44133A}" type="parTrans" cxnId="{B5FD5AF1-FACE-4326-8749-FB9170849F63}">
      <dgm:prSet/>
      <dgm:spPr/>
      <dgm:t>
        <a:bodyPr/>
        <a:lstStyle/>
        <a:p>
          <a:endParaRPr lang="en-US"/>
        </a:p>
      </dgm:t>
    </dgm:pt>
    <dgm:pt modelId="{E150C2E6-9A36-47F3-A39A-C3408F7E0D27}" type="sibTrans" cxnId="{B5FD5AF1-FACE-4326-8749-FB9170849F63}">
      <dgm:prSet/>
      <dgm:spPr/>
      <dgm:t>
        <a:bodyPr/>
        <a:lstStyle/>
        <a:p>
          <a:endParaRPr lang="en-US"/>
        </a:p>
      </dgm:t>
    </dgm:pt>
    <dgm:pt modelId="{674A0CB8-77F7-442B-829F-3EA80344A915}">
      <dgm:prSet custT="1"/>
      <dgm:spPr/>
      <dgm:t>
        <a:bodyPr/>
        <a:lstStyle/>
        <a:p>
          <a:r>
            <a:rPr lang="en-US" sz="2400" baseline="0"/>
            <a:t>Missing Index recommendations</a:t>
          </a:r>
          <a:endParaRPr lang="en-US" sz="2400"/>
        </a:p>
      </dgm:t>
    </dgm:pt>
    <dgm:pt modelId="{709290F9-98ED-4E29-A811-6B6E673F548F}" type="parTrans" cxnId="{5BB5E317-D01F-4A7D-B806-C97A2A8C68DD}">
      <dgm:prSet/>
      <dgm:spPr/>
      <dgm:t>
        <a:bodyPr/>
        <a:lstStyle/>
        <a:p>
          <a:endParaRPr lang="en-US"/>
        </a:p>
      </dgm:t>
    </dgm:pt>
    <dgm:pt modelId="{67716F09-5DB3-4C7B-AFF5-1F141B388A55}" type="sibTrans" cxnId="{5BB5E317-D01F-4A7D-B806-C97A2A8C68DD}">
      <dgm:prSet/>
      <dgm:spPr/>
      <dgm:t>
        <a:bodyPr/>
        <a:lstStyle/>
        <a:p>
          <a:endParaRPr lang="en-US"/>
        </a:p>
      </dgm:t>
    </dgm:pt>
    <dgm:pt modelId="{3F3B475D-B5C0-4CC5-B441-02973B026242}">
      <dgm:prSet custT="1"/>
      <dgm:spPr/>
      <dgm:t>
        <a:bodyPr/>
        <a:lstStyle/>
        <a:p>
          <a:r>
            <a:rPr lang="en-US" sz="2400" baseline="0">
              <a:solidFill>
                <a:srgbClr val="107C10"/>
              </a:solidFill>
            </a:rPr>
            <a:t>sys.dm_db_index_usage_stats</a:t>
          </a:r>
          <a:endParaRPr lang="en-US" sz="2400">
            <a:solidFill>
              <a:srgbClr val="107C10"/>
            </a:solidFill>
          </a:endParaRPr>
        </a:p>
      </dgm:t>
    </dgm:pt>
    <dgm:pt modelId="{97465473-4DD5-4005-9C71-FC24402E5902}" type="parTrans" cxnId="{FC7EE198-E309-4C85-BE39-589244C36C33}">
      <dgm:prSet/>
      <dgm:spPr/>
      <dgm:t>
        <a:bodyPr/>
        <a:lstStyle/>
        <a:p>
          <a:endParaRPr lang="en-US"/>
        </a:p>
      </dgm:t>
    </dgm:pt>
    <dgm:pt modelId="{84E7B7A3-E6BE-44C3-B74B-B20D06E3B0EB}" type="sibTrans" cxnId="{FC7EE198-E309-4C85-BE39-589244C36C33}">
      <dgm:prSet/>
      <dgm:spPr/>
      <dgm:t>
        <a:bodyPr/>
        <a:lstStyle/>
        <a:p>
          <a:endParaRPr lang="en-US"/>
        </a:p>
      </dgm:t>
    </dgm:pt>
    <dgm:pt modelId="{CD24FBC8-3DED-4B5A-97B9-EB08E778EC35}">
      <dgm:prSet custT="1"/>
      <dgm:spPr/>
      <dgm:t>
        <a:bodyPr/>
        <a:lstStyle/>
        <a:p>
          <a:r>
            <a:rPr lang="en-US" sz="2400" baseline="0"/>
            <a:t>Database Tuning Advisor</a:t>
          </a:r>
          <a:endParaRPr lang="en-US" sz="2400"/>
        </a:p>
      </dgm:t>
    </dgm:pt>
    <dgm:pt modelId="{FA3DB319-D3D2-4E59-8A47-32970F3D988B}" type="parTrans" cxnId="{3DADE611-D6EB-4F73-8BE9-7CACAD085004}">
      <dgm:prSet/>
      <dgm:spPr/>
      <dgm:t>
        <a:bodyPr/>
        <a:lstStyle/>
        <a:p>
          <a:endParaRPr lang="en-US"/>
        </a:p>
      </dgm:t>
    </dgm:pt>
    <dgm:pt modelId="{1DAAC5F5-9BF2-4013-978D-85ABA659AD91}" type="sibTrans" cxnId="{3DADE611-D6EB-4F73-8BE9-7CACAD085004}">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3C524684-DDB7-4F25-BDC6-08D3084063FD}" type="pres">
      <dgm:prSet presAssocID="{2F9694EC-2A4C-4627-81B1-447312D9AA61}" presName="composite" presStyleCnt="0"/>
      <dgm:spPr/>
    </dgm:pt>
    <dgm:pt modelId="{D472A51A-ECBF-4B78-84E5-BADD01830D77}" type="pres">
      <dgm:prSet presAssocID="{2F9694EC-2A4C-4627-81B1-447312D9AA61}" presName="parTx" presStyleLbl="alignNode1" presStyleIdx="0" presStyleCnt="1">
        <dgm:presLayoutVars>
          <dgm:chMax val="0"/>
          <dgm:chPref val="0"/>
          <dgm:bulletEnabled val="1"/>
        </dgm:presLayoutVars>
      </dgm:prSet>
      <dgm:spPr/>
    </dgm:pt>
    <dgm:pt modelId="{60D474A3-90FA-49E3-B0D7-1F7FC6CEFF2A}" type="pres">
      <dgm:prSet presAssocID="{2F9694EC-2A4C-4627-81B1-447312D9AA61}" presName="desTx" presStyleLbl="alignAccFollowNode1" presStyleIdx="0" presStyleCnt="1" custLinFactNeighborX="0" custLinFactNeighborY="-2990">
        <dgm:presLayoutVars>
          <dgm:bulletEnabled val="1"/>
        </dgm:presLayoutVars>
      </dgm:prSet>
      <dgm:spPr/>
    </dgm:pt>
  </dgm:ptLst>
  <dgm:cxnLst>
    <dgm:cxn modelId="{A7279F07-003F-447E-9860-D44BA507606E}" type="presOf" srcId="{3F3B475D-B5C0-4CC5-B441-02973B026242}" destId="{60D474A3-90FA-49E3-B0D7-1F7FC6CEFF2A}" srcOrd="0" destOrd="1" presId="urn:microsoft.com/office/officeart/2005/8/layout/hList1"/>
    <dgm:cxn modelId="{3DADE611-D6EB-4F73-8BE9-7CACAD085004}" srcId="{2F9694EC-2A4C-4627-81B1-447312D9AA61}" destId="{CD24FBC8-3DED-4B5A-97B9-EB08E778EC35}" srcOrd="2" destOrd="0" parTransId="{FA3DB319-D3D2-4E59-8A47-32970F3D988B}" sibTransId="{1DAAC5F5-9BF2-4013-978D-85ABA659AD91}"/>
    <dgm:cxn modelId="{5BB5E317-D01F-4A7D-B806-C97A2A8C68DD}" srcId="{2F9694EC-2A4C-4627-81B1-447312D9AA61}" destId="{674A0CB8-77F7-442B-829F-3EA80344A915}" srcOrd="0" destOrd="0" parTransId="{709290F9-98ED-4E29-A811-6B6E673F548F}" sibTransId="{67716F09-5DB3-4C7B-AFF5-1F141B388A55}"/>
    <dgm:cxn modelId="{B693F71F-A52D-49D1-A5B7-CCF0D6327916}" type="presOf" srcId="{674A0CB8-77F7-442B-829F-3EA80344A915}" destId="{60D474A3-90FA-49E3-B0D7-1F7FC6CEFF2A}" srcOrd="0" destOrd="0" presId="urn:microsoft.com/office/officeart/2005/8/layout/hList1"/>
    <dgm:cxn modelId="{9E203554-9C74-448B-8484-742A1E0777C5}" type="presOf" srcId="{2F9694EC-2A4C-4627-81B1-447312D9AA61}" destId="{D472A51A-ECBF-4B78-84E5-BADD01830D77}" srcOrd="0" destOrd="0" presId="urn:microsoft.com/office/officeart/2005/8/layout/hList1"/>
    <dgm:cxn modelId="{FC7EE198-E309-4C85-BE39-589244C36C33}" srcId="{2F9694EC-2A4C-4627-81B1-447312D9AA61}" destId="{3F3B475D-B5C0-4CC5-B441-02973B026242}" srcOrd="1" destOrd="0" parTransId="{97465473-4DD5-4005-9C71-FC24402E5902}" sibTransId="{84E7B7A3-E6BE-44C3-B74B-B20D06E3B0EB}"/>
    <dgm:cxn modelId="{31E2C59B-CE36-4A78-BA2B-AB02DA2E7E03}" type="presOf" srcId="{B184112D-53FE-4D84-AA00-83DDCA9C16DB}" destId="{EC684B26-31D5-4D53-A04B-63B2F32DEB66}" srcOrd="0" destOrd="0" presId="urn:microsoft.com/office/officeart/2005/8/layout/hList1"/>
    <dgm:cxn modelId="{416DF3EB-88C0-40E5-9058-C5A7655121B4}" type="presOf" srcId="{CD24FBC8-3DED-4B5A-97B9-EB08E778EC35}" destId="{60D474A3-90FA-49E3-B0D7-1F7FC6CEFF2A}" srcOrd="0" destOrd="2" presId="urn:microsoft.com/office/officeart/2005/8/layout/hList1"/>
    <dgm:cxn modelId="{B5FD5AF1-FACE-4326-8749-FB9170849F63}" srcId="{B184112D-53FE-4D84-AA00-83DDCA9C16DB}" destId="{2F9694EC-2A4C-4627-81B1-447312D9AA61}" srcOrd="0" destOrd="0" parTransId="{18929B48-9C47-42BB-B95E-01EE6D44133A}" sibTransId="{E150C2E6-9A36-47F3-A39A-C3408F7E0D27}"/>
    <dgm:cxn modelId="{11DCE027-E6BD-450A-8F6D-BD783E64BD43}" type="presParOf" srcId="{EC684B26-31D5-4D53-A04B-63B2F32DEB66}" destId="{3C524684-DDB7-4F25-BDC6-08D3084063FD}" srcOrd="0" destOrd="0" presId="urn:microsoft.com/office/officeart/2005/8/layout/hList1"/>
    <dgm:cxn modelId="{88E6339A-4A44-401F-A539-30E0A4260366}" type="presParOf" srcId="{3C524684-DDB7-4F25-BDC6-08D3084063FD}" destId="{D472A51A-ECBF-4B78-84E5-BADD01830D77}" srcOrd="0" destOrd="0" presId="urn:microsoft.com/office/officeart/2005/8/layout/hList1"/>
    <dgm:cxn modelId="{EF19C448-38D4-4952-B176-ECA193766D1F}" type="presParOf" srcId="{3C524684-DDB7-4F25-BDC6-08D3084063FD}" destId="{60D474A3-90FA-49E3-B0D7-1F7FC6CEFF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t>Which DMV/DMF are used to monitor index us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a:t>Does it make sense to add all SQL Server missing recommendation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F8131A31-16A9-4040-8773-13EAB223AACD}">
      <dgm:prSet custT="1"/>
      <dgm:spPr>
        <a:solidFill>
          <a:schemeClr val="hlink"/>
        </a:solidFill>
      </dgm:spPr>
      <dgm:t>
        <a:bodyPr/>
        <a:lstStyle/>
        <a:p>
          <a:r>
            <a:rPr lang="en-US" sz="2400"/>
            <a:t>When Managed Lock Priority should be used?</a:t>
          </a:r>
        </a:p>
      </dgm:t>
    </dgm:pt>
    <dgm:pt modelId="{02FE5F90-4642-4F58-8B51-624750938668}" type="sibTrans" cxnId="{61B9891E-F9D4-4D0B-B764-7A78A5588301}">
      <dgm:prSet/>
      <dgm:spPr/>
      <dgm:t>
        <a:bodyPr/>
        <a:lstStyle/>
        <a:p>
          <a:endParaRPr lang="en-US"/>
        </a:p>
      </dgm:t>
    </dgm:pt>
    <dgm:pt modelId="{30D614D1-DBA5-486C-8FEB-20079DA5B41E}" type="par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196D8D5C-AF3C-4B3F-BC76-432EBE3C6399}" type="pres">
      <dgm:prSet presAssocID="{F8131A31-16A9-4040-8773-13EAB223AACD}"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2"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54DBC56F-D6DE-42C8-9459-B589A2697E6A}" type="presParOf" srcId="{97400BD5-14CE-4761-8A6A-64BC46D23158}" destId="{196D8D5C-AF3C-4B3F-BC76-432EBE3C639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55FE93-39E3-4605-BB77-6DCFA89EBF6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811C830-D7DE-4F1F-9748-9439256DBB4F}">
      <dgm:prSet/>
      <dgm:spPr/>
      <dgm:t>
        <a:bodyPr/>
        <a:lstStyle/>
        <a:p>
          <a:r>
            <a:rPr lang="en-US" baseline="0"/>
            <a:t>Unordered masses of data</a:t>
          </a:r>
          <a:endParaRPr lang="en-US"/>
        </a:p>
      </dgm:t>
    </dgm:pt>
    <dgm:pt modelId="{5D07CD05-A5D0-4261-8BA1-DD2ECD012D43}" type="parTrans" cxnId="{CD8B46F1-BF9D-4EEA-A5E3-AD532B3B78C7}">
      <dgm:prSet/>
      <dgm:spPr/>
      <dgm:t>
        <a:bodyPr/>
        <a:lstStyle/>
        <a:p>
          <a:endParaRPr lang="en-US"/>
        </a:p>
      </dgm:t>
    </dgm:pt>
    <dgm:pt modelId="{CA66D173-6EC5-403B-981E-FDFFE1232B41}" type="sibTrans" cxnId="{CD8B46F1-BF9D-4EEA-A5E3-AD532B3B78C7}">
      <dgm:prSet/>
      <dgm:spPr/>
      <dgm:t>
        <a:bodyPr/>
        <a:lstStyle/>
        <a:p>
          <a:endParaRPr lang="en-US"/>
        </a:p>
      </dgm:t>
    </dgm:pt>
    <dgm:pt modelId="{69A340BC-1EB3-4FB7-B22B-1F3414F19B54}">
      <dgm:prSet/>
      <dgm:spPr/>
      <dgm:t>
        <a:bodyPr/>
        <a:lstStyle/>
        <a:p>
          <a:r>
            <a:rPr lang="en-US" baseline="0"/>
            <a:t>Can be good for quickly importing large sets of data </a:t>
          </a:r>
          <a:endParaRPr lang="en-US"/>
        </a:p>
      </dgm:t>
    </dgm:pt>
    <dgm:pt modelId="{A5A7E0B2-0284-4654-80C5-C1B19942A90D}" type="parTrans" cxnId="{11B6A48A-F20C-4601-AB86-022F29F41E29}">
      <dgm:prSet/>
      <dgm:spPr/>
      <dgm:t>
        <a:bodyPr/>
        <a:lstStyle/>
        <a:p>
          <a:endParaRPr lang="en-US"/>
        </a:p>
      </dgm:t>
    </dgm:pt>
    <dgm:pt modelId="{69ABC762-2EB5-45A0-AFBF-68514F7EAE6F}" type="sibTrans" cxnId="{11B6A48A-F20C-4601-AB86-022F29F41E29}">
      <dgm:prSet/>
      <dgm:spPr/>
      <dgm:t>
        <a:bodyPr/>
        <a:lstStyle/>
        <a:p>
          <a:endParaRPr lang="en-US"/>
        </a:p>
      </dgm:t>
    </dgm:pt>
    <dgm:pt modelId="{4010956E-A757-453D-A8CF-85F7F6735FC4}">
      <dgm:prSet/>
      <dgm:spPr/>
      <dgm:t>
        <a:bodyPr/>
        <a:lstStyle/>
        <a:p>
          <a:r>
            <a:rPr lang="en-US" baseline="0"/>
            <a:t>Not a good idea for production-level data structures</a:t>
          </a:r>
          <a:endParaRPr lang="en-US"/>
        </a:p>
      </dgm:t>
    </dgm:pt>
    <dgm:pt modelId="{1892F19F-1854-4383-A824-464E3BD7F374}" type="parTrans" cxnId="{D8BF728A-9632-407B-9FA0-8144CF79A51D}">
      <dgm:prSet/>
      <dgm:spPr/>
      <dgm:t>
        <a:bodyPr/>
        <a:lstStyle/>
        <a:p>
          <a:endParaRPr lang="en-US"/>
        </a:p>
      </dgm:t>
    </dgm:pt>
    <dgm:pt modelId="{8BB1EAE4-DFF6-4329-A6BF-7FA571512944}" type="sibTrans" cxnId="{D8BF728A-9632-407B-9FA0-8144CF79A51D}">
      <dgm:prSet/>
      <dgm:spPr/>
      <dgm:t>
        <a:bodyPr/>
        <a:lstStyle/>
        <a:p>
          <a:endParaRPr lang="en-US"/>
        </a:p>
      </dgm:t>
    </dgm:pt>
    <dgm:pt modelId="{C34F9976-41D0-484E-8A2E-93ED7DEF385C}">
      <dgm:prSet/>
      <dgm:spPr/>
      <dgm:t>
        <a:bodyPr/>
        <a:lstStyle/>
        <a:p>
          <a:r>
            <a:rPr lang="en-US" baseline="0"/>
            <a:t>Use the ALTER TABLE…REBUILD command to “rebuild” a heap table</a:t>
          </a:r>
          <a:endParaRPr lang="en-US"/>
        </a:p>
      </dgm:t>
    </dgm:pt>
    <dgm:pt modelId="{C583653F-4E8D-4608-9B73-8681C2388C19}" type="parTrans" cxnId="{000D2ED6-840A-4462-B15F-3A33C318A0B2}">
      <dgm:prSet/>
      <dgm:spPr/>
      <dgm:t>
        <a:bodyPr/>
        <a:lstStyle/>
        <a:p>
          <a:endParaRPr lang="en-US"/>
        </a:p>
      </dgm:t>
    </dgm:pt>
    <dgm:pt modelId="{B0C5C221-83ED-40B4-8217-8FD0E9FBC2C8}" type="sibTrans" cxnId="{000D2ED6-840A-4462-B15F-3A33C318A0B2}">
      <dgm:prSet/>
      <dgm:spPr/>
      <dgm:t>
        <a:bodyPr/>
        <a:lstStyle/>
        <a:p>
          <a:endParaRPr lang="en-US"/>
        </a:p>
      </dgm:t>
    </dgm:pt>
    <dgm:pt modelId="{169DC16F-163F-4566-813C-6D8659FDC27B}">
      <dgm:prSet/>
      <dgm:spPr/>
      <dgm:t>
        <a:bodyPr/>
        <a:lstStyle/>
        <a:p>
          <a:r>
            <a:rPr lang="en-US" baseline="0"/>
            <a:t>Do not use a heap </a:t>
          </a:r>
          <a:endParaRPr lang="en-US"/>
        </a:p>
      </dgm:t>
    </dgm:pt>
    <dgm:pt modelId="{663FC982-F31B-4A1A-99BC-71387001A87C}" type="parTrans" cxnId="{43BF124F-6FE4-4971-BA92-5DDB11719DDE}">
      <dgm:prSet/>
      <dgm:spPr/>
      <dgm:t>
        <a:bodyPr/>
        <a:lstStyle/>
        <a:p>
          <a:endParaRPr lang="en-US"/>
        </a:p>
      </dgm:t>
    </dgm:pt>
    <dgm:pt modelId="{F278CD18-15CA-4F02-A38E-7C911CBD43D0}" type="sibTrans" cxnId="{43BF124F-6FE4-4971-BA92-5DDB11719DDE}">
      <dgm:prSet/>
      <dgm:spPr/>
      <dgm:t>
        <a:bodyPr/>
        <a:lstStyle/>
        <a:p>
          <a:endParaRPr lang="en-US"/>
        </a:p>
      </dgm:t>
    </dgm:pt>
    <dgm:pt modelId="{A5D5D2C1-884F-40FD-B757-E67CF6257CF2}">
      <dgm:prSet/>
      <dgm:spPr/>
      <dgm:t>
        <a:bodyPr/>
        <a:lstStyle/>
        <a:p>
          <a:r>
            <a:rPr lang="en-US" baseline="0"/>
            <a:t>When the data is frequently returned in a sorted order.</a:t>
          </a:r>
          <a:endParaRPr lang="en-US"/>
        </a:p>
      </dgm:t>
    </dgm:pt>
    <dgm:pt modelId="{2D98A28F-30D3-4EED-AE76-731B383CD4B5}" type="parTrans" cxnId="{B9FAD2E2-0558-4D00-BED6-48499ED79AAB}">
      <dgm:prSet/>
      <dgm:spPr/>
      <dgm:t>
        <a:bodyPr/>
        <a:lstStyle/>
        <a:p>
          <a:endParaRPr lang="en-US"/>
        </a:p>
      </dgm:t>
    </dgm:pt>
    <dgm:pt modelId="{B67F0D77-059C-4A1E-A72E-A2F622AC9645}" type="sibTrans" cxnId="{B9FAD2E2-0558-4D00-BED6-48499ED79AAB}">
      <dgm:prSet/>
      <dgm:spPr/>
      <dgm:t>
        <a:bodyPr/>
        <a:lstStyle/>
        <a:p>
          <a:endParaRPr lang="en-US"/>
        </a:p>
      </dgm:t>
    </dgm:pt>
    <dgm:pt modelId="{21526704-0A70-4BBC-BBE6-94403A7F62E5}">
      <dgm:prSet/>
      <dgm:spPr/>
      <dgm:t>
        <a:bodyPr/>
        <a:lstStyle/>
        <a:p>
          <a:r>
            <a:rPr lang="en-US" baseline="0"/>
            <a:t>When the data is frequently grouped together.</a:t>
          </a:r>
          <a:endParaRPr lang="en-US"/>
        </a:p>
      </dgm:t>
    </dgm:pt>
    <dgm:pt modelId="{B33D1518-D3E3-4B0F-9511-D9A8E6A12602}" type="parTrans" cxnId="{D691DF64-D8CB-41A7-8C29-A62EFA5890A7}">
      <dgm:prSet/>
      <dgm:spPr/>
      <dgm:t>
        <a:bodyPr/>
        <a:lstStyle/>
        <a:p>
          <a:endParaRPr lang="en-US"/>
        </a:p>
      </dgm:t>
    </dgm:pt>
    <dgm:pt modelId="{95E6E294-FFB9-4D73-8D63-F0EABD154D16}" type="sibTrans" cxnId="{D691DF64-D8CB-41A7-8C29-A62EFA5890A7}">
      <dgm:prSet/>
      <dgm:spPr/>
      <dgm:t>
        <a:bodyPr/>
        <a:lstStyle/>
        <a:p>
          <a:endParaRPr lang="en-US"/>
        </a:p>
      </dgm:t>
    </dgm:pt>
    <dgm:pt modelId="{FDFAE3EA-EBDC-4D3B-9F4C-B43149299FE8}">
      <dgm:prSet/>
      <dgm:spPr/>
      <dgm:t>
        <a:bodyPr/>
        <a:lstStyle/>
        <a:p>
          <a:r>
            <a:rPr lang="en-US" baseline="0"/>
            <a:t>When ranges of data are frequently queried from the table.</a:t>
          </a:r>
          <a:endParaRPr lang="en-US"/>
        </a:p>
      </dgm:t>
    </dgm:pt>
    <dgm:pt modelId="{0A17CF97-19BB-4704-BBA6-0AF8C8CCC71B}" type="parTrans" cxnId="{3A32B37C-E589-46C7-A714-CCEFBDEC8004}">
      <dgm:prSet/>
      <dgm:spPr/>
      <dgm:t>
        <a:bodyPr/>
        <a:lstStyle/>
        <a:p>
          <a:endParaRPr lang="en-US"/>
        </a:p>
      </dgm:t>
    </dgm:pt>
    <dgm:pt modelId="{8E56AF8B-8B6C-400A-9230-3E851E05AB9E}" type="sibTrans" cxnId="{3A32B37C-E589-46C7-A714-CCEFBDEC8004}">
      <dgm:prSet/>
      <dgm:spPr/>
      <dgm:t>
        <a:bodyPr/>
        <a:lstStyle/>
        <a:p>
          <a:endParaRPr lang="en-US"/>
        </a:p>
      </dgm:t>
    </dgm:pt>
    <dgm:pt modelId="{09272B75-2F8F-4E04-8871-5188B65EC0D7}">
      <dgm:prSet/>
      <dgm:spPr/>
      <dgm:t>
        <a:bodyPr/>
        <a:lstStyle/>
        <a:p>
          <a:r>
            <a:rPr lang="en-US" baseline="0"/>
            <a:t>When there are no nonclustered indexes and the table is large.</a:t>
          </a:r>
          <a:endParaRPr lang="en-US"/>
        </a:p>
      </dgm:t>
    </dgm:pt>
    <dgm:pt modelId="{08C334B9-D63D-4B3D-9F6F-4F2099BE1D40}" type="parTrans" cxnId="{1EA848B3-46C7-4B6F-B620-84DC6AD6942F}">
      <dgm:prSet/>
      <dgm:spPr/>
      <dgm:t>
        <a:bodyPr/>
        <a:lstStyle/>
        <a:p>
          <a:endParaRPr lang="en-US"/>
        </a:p>
      </dgm:t>
    </dgm:pt>
    <dgm:pt modelId="{6A4566A5-0F05-4466-B87D-D601C5D6EF8D}" type="sibTrans" cxnId="{1EA848B3-46C7-4B6F-B620-84DC6AD6942F}">
      <dgm:prSet/>
      <dgm:spPr/>
      <dgm:t>
        <a:bodyPr/>
        <a:lstStyle/>
        <a:p>
          <a:endParaRPr lang="en-US"/>
        </a:p>
      </dgm:t>
    </dgm:pt>
    <dgm:pt modelId="{7DA62BC5-02E7-40F7-AB15-40F597F2C683}" type="pres">
      <dgm:prSet presAssocID="{1F55FE93-39E3-4605-BB77-6DCFA89EBF6E}" presName="linear" presStyleCnt="0">
        <dgm:presLayoutVars>
          <dgm:animLvl val="lvl"/>
          <dgm:resizeHandles val="exact"/>
        </dgm:presLayoutVars>
      </dgm:prSet>
      <dgm:spPr/>
    </dgm:pt>
    <dgm:pt modelId="{78BAC18E-F98D-4D88-9E1A-8E15AF4F1B34}" type="pres">
      <dgm:prSet presAssocID="{5811C830-D7DE-4F1F-9748-9439256DBB4F}" presName="parentText" presStyleLbl="node1" presStyleIdx="0" presStyleCnt="5">
        <dgm:presLayoutVars>
          <dgm:chMax val="0"/>
          <dgm:bulletEnabled val="1"/>
        </dgm:presLayoutVars>
      </dgm:prSet>
      <dgm:spPr/>
    </dgm:pt>
    <dgm:pt modelId="{C01D942A-CFAB-44B5-B79B-AA42BA6963EF}" type="pres">
      <dgm:prSet presAssocID="{CA66D173-6EC5-403B-981E-FDFFE1232B41}" presName="spacer" presStyleCnt="0"/>
      <dgm:spPr/>
    </dgm:pt>
    <dgm:pt modelId="{6D51083E-3BDA-4C7F-A063-C569DF8ECAA6}" type="pres">
      <dgm:prSet presAssocID="{69A340BC-1EB3-4FB7-B22B-1F3414F19B54}" presName="parentText" presStyleLbl="node1" presStyleIdx="1" presStyleCnt="5">
        <dgm:presLayoutVars>
          <dgm:chMax val="0"/>
          <dgm:bulletEnabled val="1"/>
        </dgm:presLayoutVars>
      </dgm:prSet>
      <dgm:spPr/>
    </dgm:pt>
    <dgm:pt modelId="{F25A3781-99C6-452F-BF99-DB0D32C5A65F}" type="pres">
      <dgm:prSet presAssocID="{69ABC762-2EB5-45A0-AFBF-68514F7EAE6F}" presName="spacer" presStyleCnt="0"/>
      <dgm:spPr/>
    </dgm:pt>
    <dgm:pt modelId="{C5E1568C-DF25-487A-9DF0-1A7393314D27}" type="pres">
      <dgm:prSet presAssocID="{4010956E-A757-453D-A8CF-85F7F6735FC4}" presName="parentText" presStyleLbl="node1" presStyleIdx="2" presStyleCnt="5">
        <dgm:presLayoutVars>
          <dgm:chMax val="0"/>
          <dgm:bulletEnabled val="1"/>
        </dgm:presLayoutVars>
      </dgm:prSet>
      <dgm:spPr/>
    </dgm:pt>
    <dgm:pt modelId="{974DA32D-4752-44F6-B8B5-A063616FD1D5}" type="pres">
      <dgm:prSet presAssocID="{8BB1EAE4-DFF6-4329-A6BF-7FA571512944}" presName="spacer" presStyleCnt="0"/>
      <dgm:spPr/>
    </dgm:pt>
    <dgm:pt modelId="{C7CACAF1-8E2B-4142-8355-1EB9D4AFA673}" type="pres">
      <dgm:prSet presAssocID="{C34F9976-41D0-484E-8A2E-93ED7DEF385C}" presName="parentText" presStyleLbl="node1" presStyleIdx="3" presStyleCnt="5">
        <dgm:presLayoutVars>
          <dgm:chMax val="0"/>
          <dgm:bulletEnabled val="1"/>
        </dgm:presLayoutVars>
      </dgm:prSet>
      <dgm:spPr/>
    </dgm:pt>
    <dgm:pt modelId="{F5248EAF-5D31-4E4A-AA6F-AA4FC13CCD67}" type="pres">
      <dgm:prSet presAssocID="{B0C5C221-83ED-40B4-8217-8FD0E9FBC2C8}" presName="spacer" presStyleCnt="0"/>
      <dgm:spPr/>
    </dgm:pt>
    <dgm:pt modelId="{4F0061D7-D698-440E-8A4A-6D559561E831}" type="pres">
      <dgm:prSet presAssocID="{169DC16F-163F-4566-813C-6D8659FDC27B}" presName="parentText" presStyleLbl="node1" presStyleIdx="4" presStyleCnt="5">
        <dgm:presLayoutVars>
          <dgm:chMax val="0"/>
          <dgm:bulletEnabled val="1"/>
        </dgm:presLayoutVars>
      </dgm:prSet>
      <dgm:spPr/>
    </dgm:pt>
    <dgm:pt modelId="{2A808A04-D311-4807-9060-D60C36113DBD}" type="pres">
      <dgm:prSet presAssocID="{169DC16F-163F-4566-813C-6D8659FDC27B}" presName="childText" presStyleLbl="revTx" presStyleIdx="0" presStyleCnt="1">
        <dgm:presLayoutVars>
          <dgm:bulletEnabled val="1"/>
        </dgm:presLayoutVars>
      </dgm:prSet>
      <dgm:spPr/>
    </dgm:pt>
  </dgm:ptLst>
  <dgm:cxnLst>
    <dgm:cxn modelId="{3D99EA06-7F36-4A7F-9734-9856A1283B8B}" type="presOf" srcId="{169DC16F-163F-4566-813C-6D8659FDC27B}" destId="{4F0061D7-D698-440E-8A4A-6D559561E831}" srcOrd="0" destOrd="0" presId="urn:microsoft.com/office/officeart/2005/8/layout/vList2"/>
    <dgm:cxn modelId="{0CA85320-035A-4D04-8B63-163F38A511AD}" type="presOf" srcId="{1F55FE93-39E3-4605-BB77-6DCFA89EBF6E}" destId="{7DA62BC5-02E7-40F7-AB15-40F597F2C683}" srcOrd="0" destOrd="0" presId="urn:microsoft.com/office/officeart/2005/8/layout/vList2"/>
    <dgm:cxn modelId="{6F32C041-5FE3-41C5-9547-DF002D0FFEF4}" type="presOf" srcId="{A5D5D2C1-884F-40FD-B757-E67CF6257CF2}" destId="{2A808A04-D311-4807-9060-D60C36113DBD}" srcOrd="0" destOrd="0" presId="urn:microsoft.com/office/officeart/2005/8/layout/vList2"/>
    <dgm:cxn modelId="{D691DF64-D8CB-41A7-8C29-A62EFA5890A7}" srcId="{169DC16F-163F-4566-813C-6D8659FDC27B}" destId="{21526704-0A70-4BBC-BBE6-94403A7F62E5}" srcOrd="1" destOrd="0" parTransId="{B33D1518-D3E3-4B0F-9511-D9A8E6A12602}" sibTransId="{95E6E294-FFB9-4D73-8D63-F0EABD154D16}"/>
    <dgm:cxn modelId="{C2CAAF6C-BD3B-4102-BC13-1DCBDD780B32}" type="presOf" srcId="{5811C830-D7DE-4F1F-9748-9439256DBB4F}" destId="{78BAC18E-F98D-4D88-9E1A-8E15AF4F1B34}" srcOrd="0" destOrd="0" presId="urn:microsoft.com/office/officeart/2005/8/layout/vList2"/>
    <dgm:cxn modelId="{43BF124F-6FE4-4971-BA92-5DDB11719DDE}" srcId="{1F55FE93-39E3-4605-BB77-6DCFA89EBF6E}" destId="{169DC16F-163F-4566-813C-6D8659FDC27B}" srcOrd="4" destOrd="0" parTransId="{663FC982-F31B-4A1A-99BC-71387001A87C}" sibTransId="{F278CD18-15CA-4F02-A38E-7C911CBD43D0}"/>
    <dgm:cxn modelId="{3A32B37C-E589-46C7-A714-CCEFBDEC8004}" srcId="{169DC16F-163F-4566-813C-6D8659FDC27B}" destId="{FDFAE3EA-EBDC-4D3B-9F4C-B43149299FE8}" srcOrd="2" destOrd="0" parTransId="{0A17CF97-19BB-4704-BBA6-0AF8C8CCC71B}" sibTransId="{8E56AF8B-8B6C-400A-9230-3E851E05AB9E}"/>
    <dgm:cxn modelId="{D8BF728A-9632-407B-9FA0-8144CF79A51D}" srcId="{1F55FE93-39E3-4605-BB77-6DCFA89EBF6E}" destId="{4010956E-A757-453D-A8CF-85F7F6735FC4}" srcOrd="2" destOrd="0" parTransId="{1892F19F-1854-4383-A824-464E3BD7F374}" sibTransId="{8BB1EAE4-DFF6-4329-A6BF-7FA571512944}"/>
    <dgm:cxn modelId="{11B6A48A-F20C-4601-AB86-022F29F41E29}" srcId="{1F55FE93-39E3-4605-BB77-6DCFA89EBF6E}" destId="{69A340BC-1EB3-4FB7-B22B-1F3414F19B54}" srcOrd="1" destOrd="0" parTransId="{A5A7E0B2-0284-4654-80C5-C1B19942A90D}" sibTransId="{69ABC762-2EB5-45A0-AFBF-68514F7EAE6F}"/>
    <dgm:cxn modelId="{4A88FA95-FAC0-4F32-9727-E00B9AE3E0A8}" type="presOf" srcId="{21526704-0A70-4BBC-BBE6-94403A7F62E5}" destId="{2A808A04-D311-4807-9060-D60C36113DBD}" srcOrd="0" destOrd="1" presId="urn:microsoft.com/office/officeart/2005/8/layout/vList2"/>
    <dgm:cxn modelId="{1EA848B3-46C7-4B6F-B620-84DC6AD6942F}" srcId="{169DC16F-163F-4566-813C-6D8659FDC27B}" destId="{09272B75-2F8F-4E04-8871-5188B65EC0D7}" srcOrd="3" destOrd="0" parTransId="{08C334B9-D63D-4B3D-9F6F-4F2099BE1D40}" sibTransId="{6A4566A5-0F05-4466-B87D-D601C5D6EF8D}"/>
    <dgm:cxn modelId="{0DA373C7-A614-45D1-B3D9-FBEB092AB205}" type="presOf" srcId="{69A340BC-1EB3-4FB7-B22B-1F3414F19B54}" destId="{6D51083E-3BDA-4C7F-A063-C569DF8ECAA6}" srcOrd="0" destOrd="0" presId="urn:microsoft.com/office/officeart/2005/8/layout/vList2"/>
    <dgm:cxn modelId="{01C8AAC8-5E2D-42F1-B500-BBBE02359324}" type="presOf" srcId="{4010956E-A757-453D-A8CF-85F7F6735FC4}" destId="{C5E1568C-DF25-487A-9DF0-1A7393314D27}" srcOrd="0" destOrd="0" presId="urn:microsoft.com/office/officeart/2005/8/layout/vList2"/>
    <dgm:cxn modelId="{37565BCC-95A8-4341-A7DB-108EE937A35D}" type="presOf" srcId="{09272B75-2F8F-4E04-8871-5188B65EC0D7}" destId="{2A808A04-D311-4807-9060-D60C36113DBD}" srcOrd="0" destOrd="3" presId="urn:microsoft.com/office/officeart/2005/8/layout/vList2"/>
    <dgm:cxn modelId="{000D2ED6-840A-4462-B15F-3A33C318A0B2}" srcId="{1F55FE93-39E3-4605-BB77-6DCFA89EBF6E}" destId="{C34F9976-41D0-484E-8A2E-93ED7DEF385C}" srcOrd="3" destOrd="0" parTransId="{C583653F-4E8D-4608-9B73-8681C2388C19}" sibTransId="{B0C5C221-83ED-40B4-8217-8FD0E9FBC2C8}"/>
    <dgm:cxn modelId="{B9FAD2E2-0558-4D00-BED6-48499ED79AAB}" srcId="{169DC16F-163F-4566-813C-6D8659FDC27B}" destId="{A5D5D2C1-884F-40FD-B757-E67CF6257CF2}" srcOrd="0" destOrd="0" parTransId="{2D98A28F-30D3-4EED-AE76-731B383CD4B5}" sibTransId="{B67F0D77-059C-4A1E-A72E-A2F622AC9645}"/>
    <dgm:cxn modelId="{295439E4-C2D5-491C-B324-3C2259E7F5B1}" type="presOf" srcId="{C34F9976-41D0-484E-8A2E-93ED7DEF385C}" destId="{C7CACAF1-8E2B-4142-8355-1EB9D4AFA673}" srcOrd="0" destOrd="0" presId="urn:microsoft.com/office/officeart/2005/8/layout/vList2"/>
    <dgm:cxn modelId="{382D56EF-784E-4C9A-AFD2-B51BBD94C491}" type="presOf" srcId="{FDFAE3EA-EBDC-4D3B-9F4C-B43149299FE8}" destId="{2A808A04-D311-4807-9060-D60C36113DBD}" srcOrd="0" destOrd="2" presId="urn:microsoft.com/office/officeart/2005/8/layout/vList2"/>
    <dgm:cxn modelId="{CD8B46F1-BF9D-4EEA-A5E3-AD532B3B78C7}" srcId="{1F55FE93-39E3-4605-BB77-6DCFA89EBF6E}" destId="{5811C830-D7DE-4F1F-9748-9439256DBB4F}" srcOrd="0" destOrd="0" parTransId="{5D07CD05-A5D0-4261-8BA1-DD2ECD012D43}" sibTransId="{CA66D173-6EC5-403B-981E-FDFFE1232B41}"/>
    <dgm:cxn modelId="{0B4A63F3-2CDB-4E8B-B286-8F4FAEEF1AA7}" type="presParOf" srcId="{7DA62BC5-02E7-40F7-AB15-40F597F2C683}" destId="{78BAC18E-F98D-4D88-9E1A-8E15AF4F1B34}" srcOrd="0" destOrd="0" presId="urn:microsoft.com/office/officeart/2005/8/layout/vList2"/>
    <dgm:cxn modelId="{5314E44E-2FD4-464C-AE5E-BBCBA87F274F}" type="presParOf" srcId="{7DA62BC5-02E7-40F7-AB15-40F597F2C683}" destId="{C01D942A-CFAB-44B5-B79B-AA42BA6963EF}" srcOrd="1" destOrd="0" presId="urn:microsoft.com/office/officeart/2005/8/layout/vList2"/>
    <dgm:cxn modelId="{5C4B507C-430E-4240-ABF1-A1AC5878ECE3}" type="presParOf" srcId="{7DA62BC5-02E7-40F7-AB15-40F597F2C683}" destId="{6D51083E-3BDA-4C7F-A063-C569DF8ECAA6}" srcOrd="2" destOrd="0" presId="urn:microsoft.com/office/officeart/2005/8/layout/vList2"/>
    <dgm:cxn modelId="{FB988D1D-8564-48F8-BE28-E8E111F84C51}" type="presParOf" srcId="{7DA62BC5-02E7-40F7-AB15-40F597F2C683}" destId="{F25A3781-99C6-452F-BF99-DB0D32C5A65F}" srcOrd="3" destOrd="0" presId="urn:microsoft.com/office/officeart/2005/8/layout/vList2"/>
    <dgm:cxn modelId="{1C84B7A3-97C9-4CA7-A498-C78B573217FF}" type="presParOf" srcId="{7DA62BC5-02E7-40F7-AB15-40F597F2C683}" destId="{C5E1568C-DF25-487A-9DF0-1A7393314D27}" srcOrd="4" destOrd="0" presId="urn:microsoft.com/office/officeart/2005/8/layout/vList2"/>
    <dgm:cxn modelId="{642970BF-9BE9-4E40-BD6A-78903E18E157}" type="presParOf" srcId="{7DA62BC5-02E7-40F7-AB15-40F597F2C683}" destId="{974DA32D-4752-44F6-B8B5-A063616FD1D5}" srcOrd="5" destOrd="0" presId="urn:microsoft.com/office/officeart/2005/8/layout/vList2"/>
    <dgm:cxn modelId="{E2B4D30F-E418-44A8-9EEA-F15D26B3ABBD}" type="presParOf" srcId="{7DA62BC5-02E7-40F7-AB15-40F597F2C683}" destId="{C7CACAF1-8E2B-4142-8355-1EB9D4AFA673}" srcOrd="6" destOrd="0" presId="urn:microsoft.com/office/officeart/2005/8/layout/vList2"/>
    <dgm:cxn modelId="{BC8E85BD-074F-464B-ABF0-1143D11BC6D9}" type="presParOf" srcId="{7DA62BC5-02E7-40F7-AB15-40F597F2C683}" destId="{F5248EAF-5D31-4E4A-AA6F-AA4FC13CCD67}" srcOrd="7" destOrd="0" presId="urn:microsoft.com/office/officeart/2005/8/layout/vList2"/>
    <dgm:cxn modelId="{630B5794-16BA-4B45-819A-3E934ADB29D4}" type="presParOf" srcId="{7DA62BC5-02E7-40F7-AB15-40F597F2C683}" destId="{4F0061D7-D698-440E-8A4A-6D559561E831}" srcOrd="8" destOrd="0" presId="urn:microsoft.com/office/officeart/2005/8/layout/vList2"/>
    <dgm:cxn modelId="{6EC34D2B-8197-4620-99B5-6D3141AFA8BF}" type="presParOf" srcId="{7DA62BC5-02E7-40F7-AB15-40F597F2C683}" destId="{2A808A04-D311-4807-9060-D60C36113DBD}"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C30745-E177-40AE-83F3-00955AE4B0D9}" type="doc">
      <dgm:prSet loTypeId="urn:microsoft.com/office/officeart/2018/2/layout/IconVerticalSolidList" loCatId="icon" qsTypeId="urn:microsoft.com/office/officeart/2005/8/quickstyle/simple1" qsCatId="simple" csTypeId="urn:microsoft.com/office/officeart/2005/8/colors/colorful1" csCatId="colorful" phldr="1"/>
      <dgm:spPr/>
      <dgm:t>
        <a:bodyPr/>
        <a:lstStyle/>
        <a:p>
          <a:endParaRPr lang="en-US"/>
        </a:p>
      </dgm:t>
    </dgm:pt>
    <dgm:pt modelId="{C510EAD0-82C4-46FB-A3B5-0FBA4E1F33AD}">
      <dgm:prSet/>
      <dgm:spPr/>
      <dgm:t>
        <a:bodyPr/>
        <a:lstStyle/>
        <a:p>
          <a:pPr>
            <a:lnSpc>
              <a:spcPct val="100000"/>
            </a:lnSpc>
          </a:pPr>
          <a:r>
            <a:rPr lang="en-US" baseline="0" dirty="0"/>
            <a:t>An ordered data structure that is implemented as a Balanced (B) Tree.</a:t>
          </a:r>
          <a:endParaRPr lang="en-US" dirty="0"/>
        </a:p>
      </dgm:t>
    </dgm:pt>
    <dgm:pt modelId="{0CD25B61-1CD1-48F4-AACF-A7650D9E7CEF}" type="parTrans" cxnId="{4FD3D87F-E324-4022-AECA-FAF7FA180975}">
      <dgm:prSet/>
      <dgm:spPr/>
      <dgm:t>
        <a:bodyPr/>
        <a:lstStyle/>
        <a:p>
          <a:endParaRPr lang="en-US"/>
        </a:p>
      </dgm:t>
    </dgm:pt>
    <dgm:pt modelId="{352F8E03-ACFB-4ED3-A72B-5507D1386F24}" type="sibTrans" cxnId="{4FD3D87F-E324-4022-AECA-FAF7FA180975}">
      <dgm:prSet/>
      <dgm:spPr/>
      <dgm:t>
        <a:bodyPr/>
        <a:lstStyle/>
        <a:p>
          <a:endParaRPr lang="en-US"/>
        </a:p>
      </dgm:t>
    </dgm:pt>
    <dgm:pt modelId="{BD7550B3-7175-4F09-8C63-D7A003C78A24}">
      <dgm:prSet/>
      <dgm:spPr/>
      <dgm:t>
        <a:bodyPr/>
        <a:lstStyle/>
        <a:p>
          <a:pPr>
            <a:lnSpc>
              <a:spcPct val="100000"/>
            </a:lnSpc>
          </a:pPr>
          <a:r>
            <a:rPr lang="en-US" baseline="0" dirty="0"/>
            <a:t>When a table is clustered, the leaf level of the index contains ALL data in the table. This means that the clustered index IS the table. This is also why there is only one per table.</a:t>
          </a:r>
          <a:endParaRPr lang="en-US" dirty="0"/>
        </a:p>
      </dgm:t>
    </dgm:pt>
    <dgm:pt modelId="{8E781184-2945-40A8-9A77-D283954DB444}" type="parTrans" cxnId="{3C3B8FA8-BE5F-4C58-9D29-4EE7E780C162}">
      <dgm:prSet/>
      <dgm:spPr/>
      <dgm:t>
        <a:bodyPr/>
        <a:lstStyle/>
        <a:p>
          <a:endParaRPr lang="en-US"/>
        </a:p>
      </dgm:t>
    </dgm:pt>
    <dgm:pt modelId="{A9B5B686-0086-4CE1-8C09-52C127677A70}" type="sibTrans" cxnId="{3C3B8FA8-BE5F-4C58-9D29-4EE7E780C162}">
      <dgm:prSet/>
      <dgm:spPr/>
      <dgm:t>
        <a:bodyPr/>
        <a:lstStyle/>
        <a:p>
          <a:endParaRPr lang="en-US"/>
        </a:p>
      </dgm:t>
    </dgm:pt>
    <dgm:pt modelId="{0799EEDA-4FCC-46D4-A318-7A0132DEB4FA}">
      <dgm:prSet/>
      <dgm:spPr/>
      <dgm:t>
        <a:bodyPr/>
        <a:lstStyle/>
        <a:p>
          <a:pPr>
            <a:lnSpc>
              <a:spcPct val="100000"/>
            </a:lnSpc>
          </a:pPr>
          <a:r>
            <a:rPr lang="en-US" baseline="0" dirty="0"/>
            <a:t>The leaf level of the clustered index contains data pages.</a:t>
          </a:r>
          <a:endParaRPr lang="en-US" dirty="0"/>
        </a:p>
      </dgm:t>
    </dgm:pt>
    <dgm:pt modelId="{1AA5EF74-31A9-4C0B-9DCE-8C326EB735DA}" type="parTrans" cxnId="{BDACCE14-1418-4628-B170-14C9AF52ADCB}">
      <dgm:prSet/>
      <dgm:spPr/>
      <dgm:t>
        <a:bodyPr/>
        <a:lstStyle/>
        <a:p>
          <a:endParaRPr lang="en-US"/>
        </a:p>
      </dgm:t>
    </dgm:pt>
    <dgm:pt modelId="{757E11B7-695A-4EC5-9019-C211684A5DAE}" type="sibTrans" cxnId="{BDACCE14-1418-4628-B170-14C9AF52ADCB}">
      <dgm:prSet/>
      <dgm:spPr/>
      <dgm:t>
        <a:bodyPr/>
        <a:lstStyle/>
        <a:p>
          <a:endParaRPr lang="en-US"/>
        </a:p>
      </dgm:t>
    </dgm:pt>
    <dgm:pt modelId="{D0ADAED9-7825-44A0-88DC-D03C3F88EF1E}" type="pres">
      <dgm:prSet presAssocID="{E2C30745-E177-40AE-83F3-00955AE4B0D9}" presName="root" presStyleCnt="0">
        <dgm:presLayoutVars>
          <dgm:dir/>
          <dgm:resizeHandles val="exact"/>
        </dgm:presLayoutVars>
      </dgm:prSet>
      <dgm:spPr/>
    </dgm:pt>
    <dgm:pt modelId="{198201F8-6371-42E0-8230-BACA3B827C82}" type="pres">
      <dgm:prSet presAssocID="{C510EAD0-82C4-46FB-A3B5-0FBA4E1F33AD}" presName="compNode" presStyleCnt="0"/>
      <dgm:spPr/>
    </dgm:pt>
    <dgm:pt modelId="{869D3DFA-3FA5-4AAC-9049-393145ACFE06}" type="pres">
      <dgm:prSet presAssocID="{C510EAD0-82C4-46FB-A3B5-0FBA4E1F33AD}" presName="bgRect" presStyleLbl="bgShp" presStyleIdx="0" presStyleCnt="3"/>
      <dgm:spPr/>
    </dgm:pt>
    <dgm:pt modelId="{9389BA8E-8C1F-4DC3-9496-56C4BF41A21B}" type="pres">
      <dgm:prSet presAssocID="{C510EAD0-82C4-46FB-A3B5-0FBA4E1F33A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ierarchy"/>
        </a:ext>
      </dgm:extLst>
    </dgm:pt>
    <dgm:pt modelId="{C2AEB32C-DC1E-452F-B240-926B39306551}" type="pres">
      <dgm:prSet presAssocID="{C510EAD0-82C4-46FB-A3B5-0FBA4E1F33AD}" presName="spaceRect" presStyleCnt="0"/>
      <dgm:spPr/>
    </dgm:pt>
    <dgm:pt modelId="{AC670E33-B6FE-417B-AD49-1677CFE5F27A}" type="pres">
      <dgm:prSet presAssocID="{C510EAD0-82C4-46FB-A3B5-0FBA4E1F33AD}" presName="parTx" presStyleLbl="revTx" presStyleIdx="0" presStyleCnt="3">
        <dgm:presLayoutVars>
          <dgm:chMax val="0"/>
          <dgm:chPref val="0"/>
        </dgm:presLayoutVars>
      </dgm:prSet>
      <dgm:spPr/>
    </dgm:pt>
    <dgm:pt modelId="{D152CAEB-4942-41AA-B046-54F737C6016C}" type="pres">
      <dgm:prSet presAssocID="{352F8E03-ACFB-4ED3-A72B-5507D1386F24}" presName="sibTrans" presStyleCnt="0"/>
      <dgm:spPr/>
    </dgm:pt>
    <dgm:pt modelId="{34C5D7BB-5538-46FD-9CA6-E37DCCF67F66}" type="pres">
      <dgm:prSet presAssocID="{BD7550B3-7175-4F09-8C63-D7A003C78A24}" presName="compNode" presStyleCnt="0"/>
      <dgm:spPr/>
    </dgm:pt>
    <dgm:pt modelId="{812C09F5-1E00-4F05-9F75-7B18F51B805F}" type="pres">
      <dgm:prSet presAssocID="{BD7550B3-7175-4F09-8C63-D7A003C78A24}" presName="bgRect" presStyleLbl="bgShp" presStyleIdx="1" presStyleCnt="3"/>
      <dgm:spPr/>
    </dgm:pt>
    <dgm:pt modelId="{6434B39B-B6B7-44E0-AFF6-E190ABAF226B}" type="pres">
      <dgm:prSet presAssocID="{BD7550B3-7175-4F09-8C63-D7A003C78A2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atabase"/>
        </a:ext>
      </dgm:extLst>
    </dgm:pt>
    <dgm:pt modelId="{7D407D15-2E5D-4FD5-8657-5CEFEA1DA906}" type="pres">
      <dgm:prSet presAssocID="{BD7550B3-7175-4F09-8C63-D7A003C78A24}" presName="spaceRect" presStyleCnt="0"/>
      <dgm:spPr/>
    </dgm:pt>
    <dgm:pt modelId="{1C76F333-EA8D-49F9-A11E-5FE023BA65DD}" type="pres">
      <dgm:prSet presAssocID="{BD7550B3-7175-4F09-8C63-D7A003C78A24}" presName="parTx" presStyleLbl="revTx" presStyleIdx="1" presStyleCnt="3">
        <dgm:presLayoutVars>
          <dgm:chMax val="0"/>
          <dgm:chPref val="0"/>
        </dgm:presLayoutVars>
      </dgm:prSet>
      <dgm:spPr/>
    </dgm:pt>
    <dgm:pt modelId="{7E13CB27-3678-484E-A0D6-86AE2633A80C}" type="pres">
      <dgm:prSet presAssocID="{A9B5B686-0086-4CE1-8C09-52C127677A70}" presName="sibTrans" presStyleCnt="0"/>
      <dgm:spPr/>
    </dgm:pt>
    <dgm:pt modelId="{ACDD82AA-3F21-43E2-9F3D-2DB5BD910EA3}" type="pres">
      <dgm:prSet presAssocID="{0799EEDA-4FCC-46D4-A318-7A0132DEB4FA}" presName="compNode" presStyleCnt="0"/>
      <dgm:spPr/>
    </dgm:pt>
    <dgm:pt modelId="{EB7A11B7-40C9-4C2D-8501-6AE16A4B4787}" type="pres">
      <dgm:prSet presAssocID="{0799EEDA-4FCC-46D4-A318-7A0132DEB4FA}" presName="bgRect" presStyleLbl="bgShp" presStyleIdx="2" presStyleCnt="3"/>
      <dgm:spPr/>
    </dgm:pt>
    <dgm:pt modelId="{215D742C-8E7A-4351-9153-F2BE9EF856CA}" type="pres">
      <dgm:prSet presAssocID="{0799EEDA-4FCC-46D4-A318-7A0132DEB4F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Leaf"/>
        </a:ext>
      </dgm:extLst>
    </dgm:pt>
    <dgm:pt modelId="{EB3E9581-42E6-4BB6-9B35-7CD49B12861E}" type="pres">
      <dgm:prSet presAssocID="{0799EEDA-4FCC-46D4-A318-7A0132DEB4FA}" presName="spaceRect" presStyleCnt="0"/>
      <dgm:spPr/>
    </dgm:pt>
    <dgm:pt modelId="{E1C1712B-1734-4443-88F1-E5E5CB441BAD}" type="pres">
      <dgm:prSet presAssocID="{0799EEDA-4FCC-46D4-A318-7A0132DEB4FA}" presName="parTx" presStyleLbl="revTx" presStyleIdx="2" presStyleCnt="3">
        <dgm:presLayoutVars>
          <dgm:chMax val="0"/>
          <dgm:chPref val="0"/>
        </dgm:presLayoutVars>
      </dgm:prSet>
      <dgm:spPr/>
    </dgm:pt>
  </dgm:ptLst>
  <dgm:cxnLst>
    <dgm:cxn modelId="{BDACCE14-1418-4628-B170-14C9AF52ADCB}" srcId="{E2C30745-E177-40AE-83F3-00955AE4B0D9}" destId="{0799EEDA-4FCC-46D4-A318-7A0132DEB4FA}" srcOrd="2" destOrd="0" parTransId="{1AA5EF74-31A9-4C0B-9DCE-8C326EB735DA}" sibTransId="{757E11B7-695A-4EC5-9019-C211684A5DAE}"/>
    <dgm:cxn modelId="{4FD3D87F-E324-4022-AECA-FAF7FA180975}" srcId="{E2C30745-E177-40AE-83F3-00955AE4B0D9}" destId="{C510EAD0-82C4-46FB-A3B5-0FBA4E1F33AD}" srcOrd="0" destOrd="0" parTransId="{0CD25B61-1CD1-48F4-AACF-A7650D9E7CEF}" sibTransId="{352F8E03-ACFB-4ED3-A72B-5507D1386F24}"/>
    <dgm:cxn modelId="{4E25CE8B-2948-4C95-9CEA-A558588F68EC}" type="presOf" srcId="{C510EAD0-82C4-46FB-A3B5-0FBA4E1F33AD}" destId="{AC670E33-B6FE-417B-AD49-1677CFE5F27A}" srcOrd="0" destOrd="0" presId="urn:microsoft.com/office/officeart/2018/2/layout/IconVerticalSolidList"/>
    <dgm:cxn modelId="{3C3B8FA8-BE5F-4C58-9D29-4EE7E780C162}" srcId="{E2C30745-E177-40AE-83F3-00955AE4B0D9}" destId="{BD7550B3-7175-4F09-8C63-D7A003C78A24}" srcOrd="1" destOrd="0" parTransId="{8E781184-2945-40A8-9A77-D283954DB444}" sibTransId="{A9B5B686-0086-4CE1-8C09-52C127677A70}"/>
    <dgm:cxn modelId="{9D7C0EBE-9C8B-4853-B63C-6911423F658C}" type="presOf" srcId="{BD7550B3-7175-4F09-8C63-D7A003C78A24}" destId="{1C76F333-EA8D-49F9-A11E-5FE023BA65DD}" srcOrd="0" destOrd="0" presId="urn:microsoft.com/office/officeart/2018/2/layout/IconVerticalSolidList"/>
    <dgm:cxn modelId="{AA32F4BE-8F66-4704-8B42-8EB08E4395A6}" type="presOf" srcId="{0799EEDA-4FCC-46D4-A318-7A0132DEB4FA}" destId="{E1C1712B-1734-4443-88F1-E5E5CB441BAD}" srcOrd="0" destOrd="0" presId="urn:microsoft.com/office/officeart/2018/2/layout/IconVerticalSolidList"/>
    <dgm:cxn modelId="{BD4F60F8-725E-40D6-90D4-A7BEA0DEE7C8}" type="presOf" srcId="{E2C30745-E177-40AE-83F3-00955AE4B0D9}" destId="{D0ADAED9-7825-44A0-88DC-D03C3F88EF1E}" srcOrd="0" destOrd="0" presId="urn:microsoft.com/office/officeart/2018/2/layout/IconVerticalSolidList"/>
    <dgm:cxn modelId="{82AECDAB-22CC-4997-8F09-7A5CA21AF56D}" type="presParOf" srcId="{D0ADAED9-7825-44A0-88DC-D03C3F88EF1E}" destId="{198201F8-6371-42E0-8230-BACA3B827C82}" srcOrd="0" destOrd="0" presId="urn:microsoft.com/office/officeart/2018/2/layout/IconVerticalSolidList"/>
    <dgm:cxn modelId="{81D18962-5D65-44EE-8DA3-869EF0DF4FED}" type="presParOf" srcId="{198201F8-6371-42E0-8230-BACA3B827C82}" destId="{869D3DFA-3FA5-4AAC-9049-393145ACFE06}" srcOrd="0" destOrd="0" presId="urn:microsoft.com/office/officeart/2018/2/layout/IconVerticalSolidList"/>
    <dgm:cxn modelId="{E0DA7A43-D41A-4B40-9FF1-857FF3FCF81C}" type="presParOf" srcId="{198201F8-6371-42E0-8230-BACA3B827C82}" destId="{9389BA8E-8C1F-4DC3-9496-56C4BF41A21B}" srcOrd="1" destOrd="0" presId="urn:microsoft.com/office/officeart/2018/2/layout/IconVerticalSolidList"/>
    <dgm:cxn modelId="{676EEC38-CE66-48AD-AB68-04045B03CA73}" type="presParOf" srcId="{198201F8-6371-42E0-8230-BACA3B827C82}" destId="{C2AEB32C-DC1E-452F-B240-926B39306551}" srcOrd="2" destOrd="0" presId="urn:microsoft.com/office/officeart/2018/2/layout/IconVerticalSolidList"/>
    <dgm:cxn modelId="{F69D2929-4C17-4781-BB10-93B656305656}" type="presParOf" srcId="{198201F8-6371-42E0-8230-BACA3B827C82}" destId="{AC670E33-B6FE-417B-AD49-1677CFE5F27A}" srcOrd="3" destOrd="0" presId="urn:microsoft.com/office/officeart/2018/2/layout/IconVerticalSolidList"/>
    <dgm:cxn modelId="{CAF93B35-5148-4D06-8EB7-39737E0D2492}" type="presParOf" srcId="{D0ADAED9-7825-44A0-88DC-D03C3F88EF1E}" destId="{D152CAEB-4942-41AA-B046-54F737C6016C}" srcOrd="1" destOrd="0" presId="urn:microsoft.com/office/officeart/2018/2/layout/IconVerticalSolidList"/>
    <dgm:cxn modelId="{C3DD8086-B1C7-4938-A36A-3BA40A3738C6}" type="presParOf" srcId="{D0ADAED9-7825-44A0-88DC-D03C3F88EF1E}" destId="{34C5D7BB-5538-46FD-9CA6-E37DCCF67F66}" srcOrd="2" destOrd="0" presId="urn:microsoft.com/office/officeart/2018/2/layout/IconVerticalSolidList"/>
    <dgm:cxn modelId="{C93B2B40-AC5C-470B-A4C0-AAE6FB0C2FE1}" type="presParOf" srcId="{34C5D7BB-5538-46FD-9CA6-E37DCCF67F66}" destId="{812C09F5-1E00-4F05-9F75-7B18F51B805F}" srcOrd="0" destOrd="0" presId="urn:microsoft.com/office/officeart/2018/2/layout/IconVerticalSolidList"/>
    <dgm:cxn modelId="{6D4DF964-2410-4C6B-8C54-C40FB1C68916}" type="presParOf" srcId="{34C5D7BB-5538-46FD-9CA6-E37DCCF67F66}" destId="{6434B39B-B6B7-44E0-AFF6-E190ABAF226B}" srcOrd="1" destOrd="0" presId="urn:microsoft.com/office/officeart/2018/2/layout/IconVerticalSolidList"/>
    <dgm:cxn modelId="{9BFF3E1F-6182-4B6B-8B03-E20FE43620FA}" type="presParOf" srcId="{34C5D7BB-5538-46FD-9CA6-E37DCCF67F66}" destId="{7D407D15-2E5D-4FD5-8657-5CEFEA1DA906}" srcOrd="2" destOrd="0" presId="urn:microsoft.com/office/officeart/2018/2/layout/IconVerticalSolidList"/>
    <dgm:cxn modelId="{6A417D92-1A4E-4F23-9481-852F2CEAC949}" type="presParOf" srcId="{34C5D7BB-5538-46FD-9CA6-E37DCCF67F66}" destId="{1C76F333-EA8D-49F9-A11E-5FE023BA65DD}" srcOrd="3" destOrd="0" presId="urn:microsoft.com/office/officeart/2018/2/layout/IconVerticalSolidList"/>
    <dgm:cxn modelId="{7AFF6BFF-1DC4-4056-BE23-D6062408A37E}" type="presParOf" srcId="{D0ADAED9-7825-44A0-88DC-D03C3F88EF1E}" destId="{7E13CB27-3678-484E-A0D6-86AE2633A80C}" srcOrd="3" destOrd="0" presId="urn:microsoft.com/office/officeart/2018/2/layout/IconVerticalSolidList"/>
    <dgm:cxn modelId="{99D4D96D-79AF-4B5E-B3FD-39BDC9E6256C}" type="presParOf" srcId="{D0ADAED9-7825-44A0-88DC-D03C3F88EF1E}" destId="{ACDD82AA-3F21-43E2-9F3D-2DB5BD910EA3}" srcOrd="4" destOrd="0" presId="urn:microsoft.com/office/officeart/2018/2/layout/IconVerticalSolidList"/>
    <dgm:cxn modelId="{B9BCC9D1-D4FF-442F-9F2D-954EF9D32180}" type="presParOf" srcId="{ACDD82AA-3F21-43E2-9F3D-2DB5BD910EA3}" destId="{EB7A11B7-40C9-4C2D-8501-6AE16A4B4787}" srcOrd="0" destOrd="0" presId="urn:microsoft.com/office/officeart/2018/2/layout/IconVerticalSolidList"/>
    <dgm:cxn modelId="{28DAD356-27DD-4035-99B4-447802526590}" type="presParOf" srcId="{ACDD82AA-3F21-43E2-9F3D-2DB5BD910EA3}" destId="{215D742C-8E7A-4351-9153-F2BE9EF856CA}" srcOrd="1" destOrd="0" presId="urn:microsoft.com/office/officeart/2018/2/layout/IconVerticalSolidList"/>
    <dgm:cxn modelId="{1CFF5807-5663-47B8-BCBB-2C4C3F6C8A88}" type="presParOf" srcId="{ACDD82AA-3F21-43E2-9F3D-2DB5BD910EA3}" destId="{EB3E9581-42E6-4BB6-9B35-7CD49B12861E}" srcOrd="2" destOrd="0" presId="urn:microsoft.com/office/officeart/2018/2/layout/IconVerticalSolidList"/>
    <dgm:cxn modelId="{D23D935A-1E1A-4AD1-9FDF-A95C1A775DF0}" type="presParOf" srcId="{ACDD82AA-3F21-43E2-9F3D-2DB5BD910EA3}" destId="{E1C1712B-1734-4443-88F1-E5E5CB441BA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719ECA3-3CE0-46D1-9FF4-9EE3D9D0A6D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D2917527-7086-4B85-A4D9-8FDA7C1764A4}">
      <dgm:prSet/>
      <dgm:spPr/>
      <dgm:t>
        <a:bodyPr/>
        <a:lstStyle/>
        <a:p>
          <a:pPr>
            <a:lnSpc>
              <a:spcPct val="100000"/>
            </a:lnSpc>
          </a:pPr>
          <a:r>
            <a:rPr lang="en-US" baseline="0"/>
            <a:t>Same B-tree data structure as a clustered index.</a:t>
          </a:r>
          <a:endParaRPr lang="en-US"/>
        </a:p>
      </dgm:t>
    </dgm:pt>
    <dgm:pt modelId="{085D596E-D229-4F12-89C5-5953F770FE09}" type="parTrans" cxnId="{10225714-E408-45E6-AE21-111206D474A9}">
      <dgm:prSet/>
      <dgm:spPr/>
      <dgm:t>
        <a:bodyPr/>
        <a:lstStyle/>
        <a:p>
          <a:endParaRPr lang="en-US"/>
        </a:p>
      </dgm:t>
    </dgm:pt>
    <dgm:pt modelId="{32F926CA-3310-4CD9-BD3B-C1989F83BC78}" type="sibTrans" cxnId="{10225714-E408-45E6-AE21-111206D474A9}">
      <dgm:prSet/>
      <dgm:spPr/>
      <dgm:t>
        <a:bodyPr/>
        <a:lstStyle/>
        <a:p>
          <a:endParaRPr lang="en-US"/>
        </a:p>
      </dgm:t>
    </dgm:pt>
    <dgm:pt modelId="{232B8A2F-60B3-4F3B-8958-40663FBB233D}">
      <dgm:prSet/>
      <dgm:spPr/>
      <dgm:t>
        <a:bodyPr/>
        <a:lstStyle/>
        <a:p>
          <a:pPr>
            <a:lnSpc>
              <a:spcPct val="100000"/>
            </a:lnSpc>
          </a:pPr>
          <a:r>
            <a:rPr lang="en-US" baseline="0" dirty="0"/>
            <a:t>It is an independent structure that is created from a Heap or Clustered Index.</a:t>
          </a:r>
          <a:endParaRPr lang="en-US" dirty="0"/>
        </a:p>
      </dgm:t>
    </dgm:pt>
    <dgm:pt modelId="{BEDBC1AA-C3C9-4C37-93EA-F0B9A49A9AF1}" type="parTrans" cxnId="{6C5ED27B-501D-4756-9084-2C3BB3762A08}">
      <dgm:prSet/>
      <dgm:spPr/>
      <dgm:t>
        <a:bodyPr/>
        <a:lstStyle/>
        <a:p>
          <a:endParaRPr lang="en-US"/>
        </a:p>
      </dgm:t>
    </dgm:pt>
    <dgm:pt modelId="{6B173B4E-B112-484F-A378-D051F3976227}" type="sibTrans" cxnId="{6C5ED27B-501D-4756-9084-2C3BB3762A08}">
      <dgm:prSet/>
      <dgm:spPr/>
      <dgm:t>
        <a:bodyPr/>
        <a:lstStyle/>
        <a:p>
          <a:endParaRPr lang="en-US"/>
        </a:p>
      </dgm:t>
    </dgm:pt>
    <dgm:pt modelId="{1A944772-CB45-4E37-8643-BEFCB79E6E37}">
      <dgm:prSet/>
      <dgm:spPr/>
      <dgm:t>
        <a:bodyPr/>
        <a:lstStyle/>
        <a:p>
          <a:pPr>
            <a:lnSpc>
              <a:spcPct val="100000"/>
            </a:lnSpc>
          </a:pPr>
          <a:r>
            <a:rPr lang="en-US" baseline="0"/>
            <a:t>Only contains a subset of the columns in the base table</a:t>
          </a:r>
          <a:endParaRPr lang="en-US"/>
        </a:p>
      </dgm:t>
    </dgm:pt>
    <dgm:pt modelId="{CDB71A8F-2F56-403A-BB50-16410B9C5822}" type="parTrans" cxnId="{93CC801C-614D-4B44-A1A6-B2E3A9571FA5}">
      <dgm:prSet/>
      <dgm:spPr/>
      <dgm:t>
        <a:bodyPr/>
        <a:lstStyle/>
        <a:p>
          <a:endParaRPr lang="en-US"/>
        </a:p>
      </dgm:t>
    </dgm:pt>
    <dgm:pt modelId="{C1F78A9F-26CB-4A48-9EB7-7BDF24D2C4A5}" type="sibTrans" cxnId="{93CC801C-614D-4B44-A1A6-B2E3A9571FA5}">
      <dgm:prSet/>
      <dgm:spPr/>
      <dgm:t>
        <a:bodyPr/>
        <a:lstStyle/>
        <a:p>
          <a:endParaRPr lang="en-US"/>
        </a:p>
      </dgm:t>
    </dgm:pt>
    <dgm:pt modelId="{928176D8-5C1A-424A-AFA9-1DBF83F06279}">
      <dgm:prSet/>
      <dgm:spPr/>
      <dgm:t>
        <a:bodyPr/>
        <a:lstStyle/>
        <a:p>
          <a:pPr>
            <a:lnSpc>
              <a:spcPct val="100000"/>
            </a:lnSpc>
          </a:pPr>
          <a:r>
            <a:rPr lang="en-US" baseline="0"/>
            <a:t>The leaf level contains only the columns defined in the index as well as the clustered key/heap ID that points to the base table structure.</a:t>
          </a:r>
          <a:endParaRPr lang="en-US"/>
        </a:p>
      </dgm:t>
    </dgm:pt>
    <dgm:pt modelId="{47EA6C56-1E62-4AA9-9B98-3309E36833CB}" type="parTrans" cxnId="{74D0B935-876C-47F8-B8D3-030BC470F19F}">
      <dgm:prSet/>
      <dgm:spPr/>
      <dgm:t>
        <a:bodyPr/>
        <a:lstStyle/>
        <a:p>
          <a:endParaRPr lang="en-US"/>
        </a:p>
      </dgm:t>
    </dgm:pt>
    <dgm:pt modelId="{6BB9336A-1F14-4450-989D-32670C6BA7B8}" type="sibTrans" cxnId="{74D0B935-876C-47F8-B8D3-030BC470F19F}">
      <dgm:prSet/>
      <dgm:spPr/>
      <dgm:t>
        <a:bodyPr/>
        <a:lstStyle/>
        <a:p>
          <a:endParaRPr lang="en-US"/>
        </a:p>
      </dgm:t>
    </dgm:pt>
    <dgm:pt modelId="{0F1E717B-3B89-4E79-8682-2A844A3C6A09}" type="pres">
      <dgm:prSet presAssocID="{F719ECA3-3CE0-46D1-9FF4-9EE3D9D0A6DF}" presName="root" presStyleCnt="0">
        <dgm:presLayoutVars>
          <dgm:dir/>
          <dgm:resizeHandles val="exact"/>
        </dgm:presLayoutVars>
      </dgm:prSet>
      <dgm:spPr/>
    </dgm:pt>
    <dgm:pt modelId="{76D51A2C-D811-4A8B-9948-EB4BC1D23F4A}" type="pres">
      <dgm:prSet presAssocID="{D2917527-7086-4B85-A4D9-8FDA7C1764A4}" presName="compNode" presStyleCnt="0"/>
      <dgm:spPr/>
    </dgm:pt>
    <dgm:pt modelId="{F669275B-E183-45F3-9FC2-5133B6D14A1C}" type="pres">
      <dgm:prSet presAssocID="{D2917527-7086-4B85-A4D9-8FDA7C1764A4}" presName="bgRect" presStyleLbl="bgShp" presStyleIdx="0" presStyleCnt="4"/>
      <dgm:spPr/>
    </dgm:pt>
    <dgm:pt modelId="{3ECDF78B-F671-4474-AFDC-AB0586B09D38}" type="pres">
      <dgm:prSet presAssocID="{D2917527-7086-4B85-A4D9-8FDA7C1764A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6471" b="6471"/>
          </a:stretch>
        </a:blipFill>
      </dgm:spPr>
      <dgm:extLst>
        <a:ext uri="{E40237B7-FDA0-4F09-8148-C483321AD2D9}">
          <dgm14:cNvPr xmlns:dgm14="http://schemas.microsoft.com/office/drawing/2010/diagram" id="0" name="" descr="people_16"/>
        </a:ext>
      </dgm:extLst>
    </dgm:pt>
    <dgm:pt modelId="{1355C2FA-9E0F-4E96-B1A1-43CC79A1F7E7}" type="pres">
      <dgm:prSet presAssocID="{D2917527-7086-4B85-A4D9-8FDA7C1764A4}" presName="spaceRect" presStyleCnt="0"/>
      <dgm:spPr/>
    </dgm:pt>
    <dgm:pt modelId="{6AC8043C-98B9-4EE2-9B1A-538D698A37A2}" type="pres">
      <dgm:prSet presAssocID="{D2917527-7086-4B85-A4D9-8FDA7C1764A4}" presName="parTx" presStyleLbl="revTx" presStyleIdx="0" presStyleCnt="4">
        <dgm:presLayoutVars>
          <dgm:chMax val="0"/>
          <dgm:chPref val="0"/>
        </dgm:presLayoutVars>
      </dgm:prSet>
      <dgm:spPr/>
    </dgm:pt>
    <dgm:pt modelId="{4C1F5B01-3B98-46A3-86E0-07BE6C53F2C1}" type="pres">
      <dgm:prSet presAssocID="{32F926CA-3310-4CD9-BD3B-C1989F83BC78}" presName="sibTrans" presStyleCnt="0"/>
      <dgm:spPr/>
    </dgm:pt>
    <dgm:pt modelId="{E47B1CF9-F627-4C01-951E-4069C8659663}" type="pres">
      <dgm:prSet presAssocID="{232B8A2F-60B3-4F3B-8958-40663FBB233D}" presName="compNode" presStyleCnt="0"/>
      <dgm:spPr/>
    </dgm:pt>
    <dgm:pt modelId="{3138D751-E1E2-428F-B704-5533049F5E14}" type="pres">
      <dgm:prSet presAssocID="{232B8A2F-60B3-4F3B-8958-40663FBB233D}" presName="bgRect" presStyleLbl="bgShp" presStyleIdx="1" presStyleCnt="4"/>
      <dgm:spPr/>
    </dgm:pt>
    <dgm:pt modelId="{35A836A4-C06F-43F0-B97D-65DFA3082CE2}" type="pres">
      <dgm:prSet presAssocID="{232B8A2F-60B3-4F3B-8958-40663FBB233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t="6322" b="6322"/>
          </a:stretch>
        </a:blipFill>
      </dgm:spPr>
      <dgm:extLst>
        <a:ext uri="{E40237B7-FDA0-4F09-8148-C483321AD2D9}">
          <dgm14:cNvPr xmlns:dgm14="http://schemas.microsoft.com/office/drawing/2010/diagram" id="0" name="" descr="funnel"/>
        </a:ext>
      </dgm:extLst>
    </dgm:pt>
    <dgm:pt modelId="{F5E53997-0E85-49BB-B615-D3BDDFD31DBF}" type="pres">
      <dgm:prSet presAssocID="{232B8A2F-60B3-4F3B-8958-40663FBB233D}" presName="spaceRect" presStyleCnt="0"/>
      <dgm:spPr/>
    </dgm:pt>
    <dgm:pt modelId="{455BEB2A-D1BD-4DBD-AF29-D20E6223D8E0}" type="pres">
      <dgm:prSet presAssocID="{232B8A2F-60B3-4F3B-8958-40663FBB233D}" presName="parTx" presStyleLbl="revTx" presStyleIdx="1" presStyleCnt="4">
        <dgm:presLayoutVars>
          <dgm:chMax val="0"/>
          <dgm:chPref val="0"/>
        </dgm:presLayoutVars>
      </dgm:prSet>
      <dgm:spPr/>
    </dgm:pt>
    <dgm:pt modelId="{7B6E3D9C-95E2-4DDB-A28D-35364F801FE1}" type="pres">
      <dgm:prSet presAssocID="{6B173B4E-B112-484F-A378-D051F3976227}" presName="sibTrans" presStyleCnt="0"/>
      <dgm:spPr/>
    </dgm:pt>
    <dgm:pt modelId="{01A8A5D2-0F3B-4733-9208-9D71B3DDF47F}" type="pres">
      <dgm:prSet presAssocID="{1A944772-CB45-4E37-8643-BEFCB79E6E37}" presName="compNode" presStyleCnt="0"/>
      <dgm:spPr/>
    </dgm:pt>
    <dgm:pt modelId="{B1B321F8-0F48-4EC3-A8BC-032D8A094BC3}" type="pres">
      <dgm:prSet presAssocID="{1A944772-CB45-4E37-8643-BEFCB79E6E37}" presName="bgRect" presStyleLbl="bgShp" presStyleIdx="2" presStyleCnt="4"/>
      <dgm:spPr/>
    </dgm:pt>
    <dgm:pt modelId="{D465E1E2-6EE2-4B3F-85D6-B8EB0738B31B}" type="pres">
      <dgm:prSet presAssocID="{1A944772-CB45-4E37-8643-BEFCB79E6E3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arChartVertical_E9EC"/>
        </a:ext>
      </dgm:extLst>
    </dgm:pt>
    <dgm:pt modelId="{1D2923AC-8586-41DD-892A-96EA08A8A410}" type="pres">
      <dgm:prSet presAssocID="{1A944772-CB45-4E37-8643-BEFCB79E6E37}" presName="spaceRect" presStyleCnt="0"/>
      <dgm:spPr/>
    </dgm:pt>
    <dgm:pt modelId="{A97D69F0-D5CF-4D00-AD8D-BCC137F6ECCE}" type="pres">
      <dgm:prSet presAssocID="{1A944772-CB45-4E37-8643-BEFCB79E6E37}" presName="parTx" presStyleLbl="revTx" presStyleIdx="2" presStyleCnt="4">
        <dgm:presLayoutVars>
          <dgm:chMax val="0"/>
          <dgm:chPref val="0"/>
        </dgm:presLayoutVars>
      </dgm:prSet>
      <dgm:spPr/>
    </dgm:pt>
    <dgm:pt modelId="{8D199A92-1C68-40DC-B28E-B15469768042}" type="pres">
      <dgm:prSet presAssocID="{C1F78A9F-26CB-4A48-9EB7-7BDF24D2C4A5}" presName="sibTrans" presStyleCnt="0"/>
      <dgm:spPr/>
    </dgm:pt>
    <dgm:pt modelId="{8574F998-786F-4225-9803-60E0A29E2F4C}" type="pres">
      <dgm:prSet presAssocID="{928176D8-5C1A-424A-AFA9-1DBF83F06279}" presName="compNode" presStyleCnt="0"/>
      <dgm:spPr/>
    </dgm:pt>
    <dgm:pt modelId="{2BAA5DA1-13BB-4B71-9F00-F59F845689B6}" type="pres">
      <dgm:prSet presAssocID="{928176D8-5C1A-424A-AFA9-1DBF83F06279}" presName="bgRect" presStyleLbl="bgShp" presStyleIdx="3" presStyleCnt="4"/>
      <dgm:spPr/>
    </dgm:pt>
    <dgm:pt modelId="{A2E8B214-EB6F-4894-B825-6FB2A6A6597D}" type="pres">
      <dgm:prSet presAssocID="{928176D8-5C1A-424A-AFA9-1DBF83F0627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16146" r="16146"/>
          </a:stretch>
        </a:blipFill>
      </dgm:spPr>
      <dgm:extLst>
        <a:ext uri="{E40237B7-FDA0-4F09-8148-C483321AD2D9}">
          <dgm14:cNvPr xmlns:dgm14="http://schemas.microsoft.com/office/drawing/2010/diagram" id="0" name="" descr="Leaf"/>
        </a:ext>
      </dgm:extLst>
    </dgm:pt>
    <dgm:pt modelId="{D13AA8FC-3CDB-4FB1-BB4A-789A96697A14}" type="pres">
      <dgm:prSet presAssocID="{928176D8-5C1A-424A-AFA9-1DBF83F06279}" presName="spaceRect" presStyleCnt="0"/>
      <dgm:spPr/>
    </dgm:pt>
    <dgm:pt modelId="{B5897854-AF76-48E4-BFAF-1A5DC77ACA3D}" type="pres">
      <dgm:prSet presAssocID="{928176D8-5C1A-424A-AFA9-1DBF83F06279}" presName="parTx" presStyleLbl="revTx" presStyleIdx="3" presStyleCnt="4">
        <dgm:presLayoutVars>
          <dgm:chMax val="0"/>
          <dgm:chPref val="0"/>
        </dgm:presLayoutVars>
      </dgm:prSet>
      <dgm:spPr/>
    </dgm:pt>
  </dgm:ptLst>
  <dgm:cxnLst>
    <dgm:cxn modelId="{10225714-E408-45E6-AE21-111206D474A9}" srcId="{F719ECA3-3CE0-46D1-9FF4-9EE3D9D0A6DF}" destId="{D2917527-7086-4B85-A4D9-8FDA7C1764A4}" srcOrd="0" destOrd="0" parTransId="{085D596E-D229-4F12-89C5-5953F770FE09}" sibTransId="{32F926CA-3310-4CD9-BD3B-C1989F83BC78}"/>
    <dgm:cxn modelId="{93CC801C-614D-4B44-A1A6-B2E3A9571FA5}" srcId="{F719ECA3-3CE0-46D1-9FF4-9EE3D9D0A6DF}" destId="{1A944772-CB45-4E37-8643-BEFCB79E6E37}" srcOrd="2" destOrd="0" parTransId="{CDB71A8F-2F56-403A-BB50-16410B9C5822}" sibTransId="{C1F78A9F-26CB-4A48-9EB7-7BDF24D2C4A5}"/>
    <dgm:cxn modelId="{74D0B935-876C-47F8-B8D3-030BC470F19F}" srcId="{F719ECA3-3CE0-46D1-9FF4-9EE3D9D0A6DF}" destId="{928176D8-5C1A-424A-AFA9-1DBF83F06279}" srcOrd="3" destOrd="0" parTransId="{47EA6C56-1E62-4AA9-9B98-3309E36833CB}" sibTransId="{6BB9336A-1F14-4450-989D-32670C6BA7B8}"/>
    <dgm:cxn modelId="{9AC5865E-27B8-4E1B-8F19-69F1B2B16788}" type="presOf" srcId="{1A944772-CB45-4E37-8643-BEFCB79E6E37}" destId="{A97D69F0-D5CF-4D00-AD8D-BCC137F6ECCE}" srcOrd="0" destOrd="0" presId="urn:microsoft.com/office/officeart/2018/2/layout/IconVerticalSolidList"/>
    <dgm:cxn modelId="{9A7BCB63-BB13-4867-889A-516CF8EA36CC}" type="presOf" srcId="{D2917527-7086-4B85-A4D9-8FDA7C1764A4}" destId="{6AC8043C-98B9-4EE2-9B1A-538D698A37A2}" srcOrd="0" destOrd="0" presId="urn:microsoft.com/office/officeart/2018/2/layout/IconVerticalSolidList"/>
    <dgm:cxn modelId="{6C5ED27B-501D-4756-9084-2C3BB3762A08}" srcId="{F719ECA3-3CE0-46D1-9FF4-9EE3D9D0A6DF}" destId="{232B8A2F-60B3-4F3B-8958-40663FBB233D}" srcOrd="1" destOrd="0" parTransId="{BEDBC1AA-C3C9-4C37-93EA-F0B9A49A9AF1}" sibTransId="{6B173B4E-B112-484F-A378-D051F3976227}"/>
    <dgm:cxn modelId="{9BC4BFA4-6259-4110-9EE4-6645669B7C9E}" type="presOf" srcId="{928176D8-5C1A-424A-AFA9-1DBF83F06279}" destId="{B5897854-AF76-48E4-BFAF-1A5DC77ACA3D}" srcOrd="0" destOrd="0" presId="urn:microsoft.com/office/officeart/2018/2/layout/IconVerticalSolidList"/>
    <dgm:cxn modelId="{AE7D1FA8-D988-42F1-99FB-FAE10EB396E0}" type="presOf" srcId="{F719ECA3-3CE0-46D1-9FF4-9EE3D9D0A6DF}" destId="{0F1E717B-3B89-4E79-8682-2A844A3C6A09}" srcOrd="0" destOrd="0" presId="urn:microsoft.com/office/officeart/2018/2/layout/IconVerticalSolidList"/>
    <dgm:cxn modelId="{099506C0-D886-418C-B640-2E2504436BC2}" type="presOf" srcId="{232B8A2F-60B3-4F3B-8958-40663FBB233D}" destId="{455BEB2A-D1BD-4DBD-AF29-D20E6223D8E0}" srcOrd="0" destOrd="0" presId="urn:microsoft.com/office/officeart/2018/2/layout/IconVerticalSolidList"/>
    <dgm:cxn modelId="{4B404F2E-A0B0-46C7-B430-6C185A954E0E}" type="presParOf" srcId="{0F1E717B-3B89-4E79-8682-2A844A3C6A09}" destId="{76D51A2C-D811-4A8B-9948-EB4BC1D23F4A}" srcOrd="0" destOrd="0" presId="urn:microsoft.com/office/officeart/2018/2/layout/IconVerticalSolidList"/>
    <dgm:cxn modelId="{9177E881-60BD-405E-98CB-C6A4CDA9EC66}" type="presParOf" srcId="{76D51A2C-D811-4A8B-9948-EB4BC1D23F4A}" destId="{F669275B-E183-45F3-9FC2-5133B6D14A1C}" srcOrd="0" destOrd="0" presId="urn:microsoft.com/office/officeart/2018/2/layout/IconVerticalSolidList"/>
    <dgm:cxn modelId="{E79F4290-32B2-4017-8845-8DB7CFFCD562}" type="presParOf" srcId="{76D51A2C-D811-4A8B-9948-EB4BC1D23F4A}" destId="{3ECDF78B-F671-4474-AFDC-AB0586B09D38}" srcOrd="1" destOrd="0" presId="urn:microsoft.com/office/officeart/2018/2/layout/IconVerticalSolidList"/>
    <dgm:cxn modelId="{27AAA8B4-F094-44FD-AB11-EAFABC5CE99F}" type="presParOf" srcId="{76D51A2C-D811-4A8B-9948-EB4BC1D23F4A}" destId="{1355C2FA-9E0F-4E96-B1A1-43CC79A1F7E7}" srcOrd="2" destOrd="0" presId="urn:microsoft.com/office/officeart/2018/2/layout/IconVerticalSolidList"/>
    <dgm:cxn modelId="{9CF5F213-1185-46BA-A0A5-51CB0689C64B}" type="presParOf" srcId="{76D51A2C-D811-4A8B-9948-EB4BC1D23F4A}" destId="{6AC8043C-98B9-4EE2-9B1A-538D698A37A2}" srcOrd="3" destOrd="0" presId="urn:microsoft.com/office/officeart/2018/2/layout/IconVerticalSolidList"/>
    <dgm:cxn modelId="{71C12CE2-88BE-4AC8-8D75-D7850D5C36BA}" type="presParOf" srcId="{0F1E717B-3B89-4E79-8682-2A844A3C6A09}" destId="{4C1F5B01-3B98-46A3-86E0-07BE6C53F2C1}" srcOrd="1" destOrd="0" presId="urn:microsoft.com/office/officeart/2018/2/layout/IconVerticalSolidList"/>
    <dgm:cxn modelId="{D95F16FB-FF12-4D5E-A21C-044B5B7D58F2}" type="presParOf" srcId="{0F1E717B-3B89-4E79-8682-2A844A3C6A09}" destId="{E47B1CF9-F627-4C01-951E-4069C8659663}" srcOrd="2" destOrd="0" presId="urn:microsoft.com/office/officeart/2018/2/layout/IconVerticalSolidList"/>
    <dgm:cxn modelId="{32BFD4AA-4BB2-4673-A6AC-B3F9EB56D56F}" type="presParOf" srcId="{E47B1CF9-F627-4C01-951E-4069C8659663}" destId="{3138D751-E1E2-428F-B704-5533049F5E14}" srcOrd="0" destOrd="0" presId="urn:microsoft.com/office/officeart/2018/2/layout/IconVerticalSolidList"/>
    <dgm:cxn modelId="{DF53B53B-812B-4966-BC29-5215B1F969B8}" type="presParOf" srcId="{E47B1CF9-F627-4C01-951E-4069C8659663}" destId="{35A836A4-C06F-43F0-B97D-65DFA3082CE2}" srcOrd="1" destOrd="0" presId="urn:microsoft.com/office/officeart/2018/2/layout/IconVerticalSolidList"/>
    <dgm:cxn modelId="{C4CD8E33-58C6-4153-83B2-7E44EAD8B61E}" type="presParOf" srcId="{E47B1CF9-F627-4C01-951E-4069C8659663}" destId="{F5E53997-0E85-49BB-B615-D3BDDFD31DBF}" srcOrd="2" destOrd="0" presId="urn:microsoft.com/office/officeart/2018/2/layout/IconVerticalSolidList"/>
    <dgm:cxn modelId="{25826FAD-3E62-4BF9-A8DD-A14BDF7EEA61}" type="presParOf" srcId="{E47B1CF9-F627-4C01-951E-4069C8659663}" destId="{455BEB2A-D1BD-4DBD-AF29-D20E6223D8E0}" srcOrd="3" destOrd="0" presId="urn:microsoft.com/office/officeart/2018/2/layout/IconVerticalSolidList"/>
    <dgm:cxn modelId="{162C604D-899E-4422-AAF4-0D5B7462C099}" type="presParOf" srcId="{0F1E717B-3B89-4E79-8682-2A844A3C6A09}" destId="{7B6E3D9C-95E2-4DDB-A28D-35364F801FE1}" srcOrd="3" destOrd="0" presId="urn:microsoft.com/office/officeart/2018/2/layout/IconVerticalSolidList"/>
    <dgm:cxn modelId="{90A0E34C-6D7D-43A9-A09E-DF9F26FED8F5}" type="presParOf" srcId="{0F1E717B-3B89-4E79-8682-2A844A3C6A09}" destId="{01A8A5D2-0F3B-4733-9208-9D71B3DDF47F}" srcOrd="4" destOrd="0" presId="urn:microsoft.com/office/officeart/2018/2/layout/IconVerticalSolidList"/>
    <dgm:cxn modelId="{5431988C-4906-4E0C-8BC2-E78B35F5BC09}" type="presParOf" srcId="{01A8A5D2-0F3B-4733-9208-9D71B3DDF47F}" destId="{B1B321F8-0F48-4EC3-A8BC-032D8A094BC3}" srcOrd="0" destOrd="0" presId="urn:microsoft.com/office/officeart/2018/2/layout/IconVerticalSolidList"/>
    <dgm:cxn modelId="{D4FD449B-5664-46AA-8E71-F58F4512BA0A}" type="presParOf" srcId="{01A8A5D2-0F3B-4733-9208-9D71B3DDF47F}" destId="{D465E1E2-6EE2-4B3F-85D6-B8EB0738B31B}" srcOrd="1" destOrd="0" presId="urn:microsoft.com/office/officeart/2018/2/layout/IconVerticalSolidList"/>
    <dgm:cxn modelId="{DB025C03-FD95-47CA-9079-93FA21C73459}" type="presParOf" srcId="{01A8A5D2-0F3B-4733-9208-9D71B3DDF47F}" destId="{1D2923AC-8586-41DD-892A-96EA08A8A410}" srcOrd="2" destOrd="0" presId="urn:microsoft.com/office/officeart/2018/2/layout/IconVerticalSolidList"/>
    <dgm:cxn modelId="{290F38D0-2E27-49AB-94C6-045636D02E74}" type="presParOf" srcId="{01A8A5D2-0F3B-4733-9208-9D71B3DDF47F}" destId="{A97D69F0-D5CF-4D00-AD8D-BCC137F6ECCE}" srcOrd="3" destOrd="0" presId="urn:microsoft.com/office/officeart/2018/2/layout/IconVerticalSolidList"/>
    <dgm:cxn modelId="{13E08A84-8F4F-4CB2-957E-58FFDAC0F55D}" type="presParOf" srcId="{0F1E717B-3B89-4E79-8682-2A844A3C6A09}" destId="{8D199A92-1C68-40DC-B28E-B15469768042}" srcOrd="5" destOrd="0" presId="urn:microsoft.com/office/officeart/2018/2/layout/IconVerticalSolidList"/>
    <dgm:cxn modelId="{D51AFA18-C808-4709-A6F9-74868F413EFF}" type="presParOf" srcId="{0F1E717B-3B89-4E79-8682-2A844A3C6A09}" destId="{8574F998-786F-4225-9803-60E0A29E2F4C}" srcOrd="6" destOrd="0" presId="urn:microsoft.com/office/officeart/2018/2/layout/IconVerticalSolidList"/>
    <dgm:cxn modelId="{9F04AC0C-98B8-4AE2-9063-73771FA90DD9}" type="presParOf" srcId="{8574F998-786F-4225-9803-60E0A29E2F4C}" destId="{2BAA5DA1-13BB-4B71-9F00-F59F845689B6}" srcOrd="0" destOrd="0" presId="urn:microsoft.com/office/officeart/2018/2/layout/IconVerticalSolidList"/>
    <dgm:cxn modelId="{80E5F70A-7860-4AD5-A3B9-2A7470D1B804}" type="presParOf" srcId="{8574F998-786F-4225-9803-60E0A29E2F4C}" destId="{A2E8B214-EB6F-4894-B825-6FB2A6A6597D}" srcOrd="1" destOrd="0" presId="urn:microsoft.com/office/officeart/2018/2/layout/IconVerticalSolidList"/>
    <dgm:cxn modelId="{AAD4C585-E3D6-4FC3-9764-DA68CB5FF311}" type="presParOf" srcId="{8574F998-786F-4225-9803-60E0A29E2F4C}" destId="{D13AA8FC-3CDB-4FB1-BB4A-789A96697A14}" srcOrd="2" destOrd="0" presId="urn:microsoft.com/office/officeart/2018/2/layout/IconVerticalSolidList"/>
    <dgm:cxn modelId="{E1FFC275-D935-4124-BD80-4CDD42598CCA}" type="presParOf" srcId="{8574F998-786F-4225-9803-60E0A29E2F4C}" destId="{B5897854-AF76-48E4-BFAF-1A5DC77ACA3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10FF6C0-E6CD-4147-838D-4B599EEE10A8}" type="doc">
      <dgm:prSet loTypeId="urn:microsoft.com/office/officeart/2005/8/layout/hList1" loCatId="list" qsTypeId="urn:microsoft.com/office/officeart/2005/8/quickstyle/simple4" qsCatId="simple" csTypeId="urn:microsoft.com/office/officeart/2005/8/colors/colorful2" csCatId="colorful" phldr="1"/>
      <dgm:spPr/>
      <dgm:t>
        <a:bodyPr/>
        <a:lstStyle/>
        <a:p>
          <a:endParaRPr lang="en-US"/>
        </a:p>
      </dgm:t>
    </dgm:pt>
    <dgm:pt modelId="{BF6FB160-B554-4F55-84C6-4B8AC1EB349C}">
      <dgm:prSet/>
      <dgm:spPr/>
      <dgm:t>
        <a:bodyPr/>
        <a:lstStyle/>
        <a:p>
          <a:r>
            <a:rPr lang="en-US"/>
            <a:t>Clustered Indexes</a:t>
          </a:r>
        </a:p>
      </dgm:t>
    </dgm:pt>
    <dgm:pt modelId="{A3BA0989-2CB0-43C3-B412-54D7EBAC6E6E}" type="parTrans" cxnId="{6EC5EDDD-DC00-49D4-AB5E-AECEFC973CBA}">
      <dgm:prSet/>
      <dgm:spPr/>
      <dgm:t>
        <a:bodyPr/>
        <a:lstStyle/>
        <a:p>
          <a:endParaRPr lang="en-US"/>
        </a:p>
      </dgm:t>
    </dgm:pt>
    <dgm:pt modelId="{3B6D2E0E-8028-4D40-AA1A-92925093C7DA}" type="sibTrans" cxnId="{6EC5EDDD-DC00-49D4-AB5E-AECEFC973CBA}">
      <dgm:prSet/>
      <dgm:spPr/>
      <dgm:t>
        <a:bodyPr/>
        <a:lstStyle/>
        <a:p>
          <a:endParaRPr lang="en-US"/>
        </a:p>
      </dgm:t>
    </dgm:pt>
    <dgm:pt modelId="{D32ECA96-70EF-4871-9F06-DC288D98D39B}">
      <dgm:prSet/>
      <dgm:spPr/>
      <dgm:t>
        <a:bodyPr/>
        <a:lstStyle/>
        <a:p>
          <a:r>
            <a:rPr lang="en-US"/>
            <a:t>Leaf level has data rows stored with index.</a:t>
          </a:r>
        </a:p>
      </dgm:t>
    </dgm:pt>
    <dgm:pt modelId="{53F4D5DB-F64A-43A7-A560-E23C5C9CD81B}" type="parTrans" cxnId="{4212C62D-0279-421F-97DB-E397499DDD23}">
      <dgm:prSet/>
      <dgm:spPr/>
      <dgm:t>
        <a:bodyPr/>
        <a:lstStyle/>
        <a:p>
          <a:endParaRPr lang="en-US"/>
        </a:p>
      </dgm:t>
    </dgm:pt>
    <dgm:pt modelId="{812532DA-2325-42E9-80C9-AFDC1165BC69}" type="sibTrans" cxnId="{4212C62D-0279-421F-97DB-E397499DDD23}">
      <dgm:prSet/>
      <dgm:spPr/>
      <dgm:t>
        <a:bodyPr/>
        <a:lstStyle/>
        <a:p>
          <a:endParaRPr lang="en-US"/>
        </a:p>
      </dgm:t>
    </dgm:pt>
    <dgm:pt modelId="{821D27D6-E6BB-489A-AA34-05A29A2B55D8}">
      <dgm:prSet/>
      <dgm:spPr/>
      <dgm:t>
        <a:bodyPr/>
        <a:lstStyle/>
        <a:p>
          <a:r>
            <a:rPr lang="en-US"/>
            <a:t>Non-clustered Indexes</a:t>
          </a:r>
        </a:p>
      </dgm:t>
    </dgm:pt>
    <dgm:pt modelId="{77792C74-34E3-4F61-B7A9-66B3A3504BA8}" type="parTrans" cxnId="{30B55308-A7E8-4A83-B5B3-457CD508B125}">
      <dgm:prSet/>
      <dgm:spPr/>
      <dgm:t>
        <a:bodyPr/>
        <a:lstStyle/>
        <a:p>
          <a:endParaRPr lang="en-US"/>
        </a:p>
      </dgm:t>
    </dgm:pt>
    <dgm:pt modelId="{D0AD591B-0571-474B-AB70-6C560A1A821C}" type="sibTrans" cxnId="{30B55308-A7E8-4A83-B5B3-457CD508B125}">
      <dgm:prSet/>
      <dgm:spPr/>
      <dgm:t>
        <a:bodyPr/>
        <a:lstStyle/>
        <a:p>
          <a:endParaRPr lang="en-US"/>
        </a:p>
      </dgm:t>
    </dgm:pt>
    <dgm:pt modelId="{C90E9F2A-0519-4F10-9FEE-DE7D11592927}">
      <dgm:prSet/>
      <dgm:spPr/>
      <dgm:t>
        <a:bodyPr/>
        <a:lstStyle/>
        <a:p>
          <a:r>
            <a:rPr lang="en-US" dirty="0"/>
            <a:t>Separate structure from base table.</a:t>
          </a:r>
        </a:p>
      </dgm:t>
    </dgm:pt>
    <dgm:pt modelId="{34FE8762-E01B-46D0-87C2-9D2226FA0881}" type="parTrans" cxnId="{C0AA77FE-9770-4B0B-A76C-67BCE587CF00}">
      <dgm:prSet/>
      <dgm:spPr/>
      <dgm:t>
        <a:bodyPr/>
        <a:lstStyle/>
        <a:p>
          <a:endParaRPr lang="en-US"/>
        </a:p>
      </dgm:t>
    </dgm:pt>
    <dgm:pt modelId="{2C2629FF-47F9-45E8-85E6-17D354302656}" type="sibTrans" cxnId="{C0AA77FE-9770-4B0B-A76C-67BCE587CF00}">
      <dgm:prSet/>
      <dgm:spPr/>
      <dgm:t>
        <a:bodyPr/>
        <a:lstStyle/>
        <a:p>
          <a:endParaRPr lang="en-US"/>
        </a:p>
      </dgm:t>
    </dgm:pt>
    <dgm:pt modelId="{EFBC3BA4-BA6A-47A9-9AD7-EB80D928D2A1}">
      <dgm:prSet/>
      <dgm:spPr/>
      <dgm:t>
        <a:bodyPr/>
        <a:lstStyle/>
        <a:p>
          <a:r>
            <a:rPr lang="en-US" dirty="0"/>
            <a:t>Contains a pointer </a:t>
          </a:r>
          <a:r>
            <a:rPr lang="en-US" u="none" dirty="0"/>
            <a:t>back to base table called:</a:t>
          </a:r>
          <a:endParaRPr lang="en-US" dirty="0"/>
        </a:p>
      </dgm:t>
    </dgm:pt>
    <dgm:pt modelId="{99EE8FB9-E488-4179-86E8-D2B27FA4F871}" type="parTrans" cxnId="{5B95C044-DD02-440C-AACC-7607D0128C6E}">
      <dgm:prSet/>
      <dgm:spPr/>
      <dgm:t>
        <a:bodyPr/>
        <a:lstStyle/>
        <a:p>
          <a:endParaRPr lang="en-US"/>
        </a:p>
      </dgm:t>
    </dgm:pt>
    <dgm:pt modelId="{031357DF-52E1-4857-813E-69862D5B3931}" type="sibTrans" cxnId="{5B95C044-DD02-440C-AACC-7607D0128C6E}">
      <dgm:prSet/>
      <dgm:spPr/>
      <dgm:t>
        <a:bodyPr/>
        <a:lstStyle/>
        <a:p>
          <a:endParaRPr lang="en-US"/>
        </a:p>
      </dgm:t>
    </dgm:pt>
    <dgm:pt modelId="{EA0039EC-765D-47A6-A454-EB79FFB7D6D0}">
      <dgm:prSet/>
      <dgm:spPr/>
      <dgm:t>
        <a:bodyPr/>
        <a:lstStyle/>
        <a:p>
          <a:r>
            <a:rPr lang="en-US"/>
            <a:t>“Skinny” data structure as it contains a  subset of base table only.</a:t>
          </a:r>
        </a:p>
      </dgm:t>
    </dgm:pt>
    <dgm:pt modelId="{B2BA17B9-EB15-4C17-A522-BA46BE165620}" type="parTrans" cxnId="{541E130A-5DC0-47EB-988D-897020EF6CA5}">
      <dgm:prSet/>
      <dgm:spPr/>
      <dgm:t>
        <a:bodyPr/>
        <a:lstStyle/>
        <a:p>
          <a:endParaRPr lang="en-US"/>
        </a:p>
      </dgm:t>
    </dgm:pt>
    <dgm:pt modelId="{FF337856-94F4-49CB-B152-304486D57661}" type="sibTrans" cxnId="{541E130A-5DC0-47EB-988D-897020EF6CA5}">
      <dgm:prSet/>
      <dgm:spPr/>
      <dgm:t>
        <a:bodyPr/>
        <a:lstStyle/>
        <a:p>
          <a:endParaRPr lang="en-US"/>
        </a:p>
      </dgm:t>
    </dgm:pt>
    <dgm:pt modelId="{4800BCFF-DE1E-40E2-BE2D-215CB5F3C3F8}">
      <dgm:prSet/>
      <dgm:spPr/>
      <dgm:t>
        <a:bodyPr/>
        <a:lstStyle/>
        <a:p>
          <a:r>
            <a:rPr lang="en-US"/>
            <a:t>To by-pass index key limits (1,700 bytes) ,non-key columns can be added to leaf level. </a:t>
          </a:r>
        </a:p>
      </dgm:t>
    </dgm:pt>
    <dgm:pt modelId="{CF852995-1682-4F08-B1E8-297340B2FA48}" type="parTrans" cxnId="{8EB90479-821A-4DCB-83A6-3F897A18BEA6}">
      <dgm:prSet/>
      <dgm:spPr/>
      <dgm:t>
        <a:bodyPr/>
        <a:lstStyle/>
        <a:p>
          <a:endParaRPr lang="en-US"/>
        </a:p>
      </dgm:t>
    </dgm:pt>
    <dgm:pt modelId="{D2D83A8B-CCCA-42D5-8894-226969206E1B}" type="sibTrans" cxnId="{8EB90479-821A-4DCB-83A6-3F897A18BEA6}">
      <dgm:prSet/>
      <dgm:spPr/>
      <dgm:t>
        <a:bodyPr/>
        <a:lstStyle/>
        <a:p>
          <a:endParaRPr lang="en-US"/>
        </a:p>
      </dgm:t>
    </dgm:pt>
    <dgm:pt modelId="{1EB32244-5DD4-4097-913E-BE6EA4FDFBEC}">
      <dgm:prSet/>
      <dgm:spPr/>
      <dgm:t>
        <a:bodyPr/>
        <a:lstStyle/>
        <a:p>
          <a:r>
            <a:rPr lang="en-US"/>
            <a:t>As Leaf level contains fewer columns than base table, the non-clustered index uses fewer pages than the corresponding base table.</a:t>
          </a:r>
          <a:endParaRPr lang="en-US" u="none"/>
        </a:p>
      </dgm:t>
    </dgm:pt>
    <dgm:pt modelId="{5197F012-9E05-4591-814A-1D512E9B295D}" type="parTrans" cxnId="{EE3558EA-E792-4CAF-9B4F-B5AD78A78562}">
      <dgm:prSet/>
      <dgm:spPr/>
      <dgm:t>
        <a:bodyPr/>
        <a:lstStyle/>
        <a:p>
          <a:endParaRPr lang="en-US"/>
        </a:p>
      </dgm:t>
    </dgm:pt>
    <dgm:pt modelId="{00B5F050-D943-4B27-8835-49511C94F5A0}" type="sibTrans" cxnId="{EE3558EA-E792-4CAF-9B4F-B5AD78A78562}">
      <dgm:prSet/>
      <dgm:spPr/>
      <dgm:t>
        <a:bodyPr/>
        <a:lstStyle/>
        <a:p>
          <a:endParaRPr lang="en-US"/>
        </a:p>
      </dgm:t>
    </dgm:pt>
    <dgm:pt modelId="{27DB2621-D425-4E88-BA49-3BB127CFCFEB}">
      <dgm:prSet/>
      <dgm:spPr/>
      <dgm:t>
        <a:bodyPr/>
        <a:lstStyle/>
        <a:p>
          <a:r>
            <a:rPr lang="en-US" b="0" i="0" u="none" baseline="0">
              <a:effectLst/>
              <a:latin typeface="+mn-lt"/>
              <a:ea typeface="+mn-ea"/>
              <a:cs typeface="+mn-cs"/>
            </a:rPr>
            <a:t>Row ID (RID when base table is HEAP)</a:t>
          </a:r>
          <a:endParaRPr lang="en-US"/>
        </a:p>
      </dgm:t>
    </dgm:pt>
    <dgm:pt modelId="{A83B9BB3-1685-441B-ADA5-C317416068D4}" type="parTrans" cxnId="{BBFFA024-47EA-48BD-AB19-E93918860658}">
      <dgm:prSet/>
      <dgm:spPr/>
      <dgm:t>
        <a:bodyPr/>
        <a:lstStyle/>
        <a:p>
          <a:endParaRPr lang="en-US"/>
        </a:p>
      </dgm:t>
    </dgm:pt>
    <dgm:pt modelId="{0059C056-2D42-42E4-BA90-BA243E56B135}" type="sibTrans" cxnId="{BBFFA024-47EA-48BD-AB19-E93918860658}">
      <dgm:prSet/>
      <dgm:spPr/>
      <dgm:t>
        <a:bodyPr/>
        <a:lstStyle/>
        <a:p>
          <a:endParaRPr lang="en-US"/>
        </a:p>
      </dgm:t>
    </dgm:pt>
    <dgm:pt modelId="{A66791C9-FC66-4711-8CDA-46232279A7C8}">
      <dgm:prSet/>
      <dgm:spPr/>
      <dgm:t>
        <a:bodyPr/>
        <a:lstStyle/>
        <a:p>
          <a:r>
            <a:rPr lang="en-US" b="0" i="0" u="none" baseline="0">
              <a:effectLst/>
              <a:latin typeface="+mn-lt"/>
              <a:ea typeface="+mn-ea"/>
              <a:cs typeface="+mn-cs"/>
            </a:rPr>
            <a:t>Key      (KEY when base table is Clustered) </a:t>
          </a:r>
          <a:endParaRPr lang="en-US" dirty="0"/>
        </a:p>
      </dgm:t>
    </dgm:pt>
    <dgm:pt modelId="{15328F54-E02E-48CD-A9F1-726DFA784C7F}" type="parTrans" cxnId="{2F92AB8F-7B2B-4EEC-9D61-4DFC0E7BBC7B}">
      <dgm:prSet/>
      <dgm:spPr/>
      <dgm:t>
        <a:bodyPr/>
        <a:lstStyle/>
        <a:p>
          <a:endParaRPr lang="en-US"/>
        </a:p>
      </dgm:t>
    </dgm:pt>
    <dgm:pt modelId="{DEF56018-7012-4052-B80D-C5E6DE9682E5}" type="sibTrans" cxnId="{2F92AB8F-7B2B-4EEC-9D61-4DFC0E7BBC7B}">
      <dgm:prSet/>
      <dgm:spPr/>
      <dgm:t>
        <a:bodyPr/>
        <a:lstStyle/>
        <a:p>
          <a:endParaRPr lang="en-US"/>
        </a:p>
      </dgm:t>
    </dgm:pt>
    <dgm:pt modelId="{0E663FDF-FCC5-400F-8536-56677CA3DC90}">
      <dgm:prSet/>
      <dgm:spPr/>
      <dgm:t>
        <a:bodyPr/>
        <a:lstStyle/>
        <a:p>
          <a:r>
            <a:rPr lang="en-US" b="0" i="0"/>
            <a:t>Table data can be sorted in only one way.</a:t>
          </a:r>
          <a:endParaRPr lang="en-US" b="0"/>
        </a:p>
      </dgm:t>
    </dgm:pt>
    <dgm:pt modelId="{024ED45B-AD1F-47FC-B6D3-7C981BCA672E}" type="parTrans" cxnId="{B4EDB34E-7222-4E53-9FC6-499CE697EE04}">
      <dgm:prSet/>
      <dgm:spPr/>
      <dgm:t>
        <a:bodyPr/>
        <a:lstStyle/>
        <a:p>
          <a:endParaRPr lang="en-US"/>
        </a:p>
      </dgm:t>
    </dgm:pt>
    <dgm:pt modelId="{9A7F8172-4DFF-47D1-87FF-1522EA3D6E58}" type="sibTrans" cxnId="{B4EDB34E-7222-4E53-9FC6-499CE697EE04}">
      <dgm:prSet/>
      <dgm:spPr/>
      <dgm:t>
        <a:bodyPr/>
        <a:lstStyle/>
        <a:p>
          <a:endParaRPr lang="en-US"/>
        </a:p>
      </dgm:t>
    </dgm:pt>
    <dgm:pt modelId="{F7771B0A-A471-425B-8C85-8C71A49056D5}">
      <dgm:prSet/>
      <dgm:spPr/>
      <dgm:t>
        <a:bodyPr/>
        <a:lstStyle/>
        <a:p>
          <a:r>
            <a:rPr lang="en-US" b="0" i="0"/>
            <a:t>Defines the order in which data is physically stored in a table.</a:t>
          </a:r>
          <a:endParaRPr lang="en-US" b="0"/>
        </a:p>
      </dgm:t>
    </dgm:pt>
    <dgm:pt modelId="{9B7434A4-0698-4E6C-BA01-7D2E4AC6CEF7}" type="parTrans" cxnId="{3F823E84-819D-4421-9D15-136D2C199E92}">
      <dgm:prSet/>
      <dgm:spPr/>
      <dgm:t>
        <a:bodyPr/>
        <a:lstStyle/>
        <a:p>
          <a:endParaRPr lang="en-US"/>
        </a:p>
      </dgm:t>
    </dgm:pt>
    <dgm:pt modelId="{2034D030-38FF-488E-B085-1D9D6DF485E4}" type="sibTrans" cxnId="{3F823E84-819D-4421-9D15-136D2C199E92}">
      <dgm:prSet/>
      <dgm:spPr/>
      <dgm:t>
        <a:bodyPr/>
        <a:lstStyle/>
        <a:p>
          <a:endParaRPr lang="en-US"/>
        </a:p>
      </dgm:t>
    </dgm:pt>
    <dgm:pt modelId="{E9EA3D65-13F7-43C9-94E0-E8C0C3A64BD1}">
      <dgm:prSet/>
      <dgm:spPr/>
      <dgm:t>
        <a:bodyPr/>
        <a:lstStyle/>
        <a:p>
          <a:endParaRPr lang="en-US"/>
        </a:p>
      </dgm:t>
    </dgm:pt>
    <dgm:pt modelId="{FD5FD4D2-3B3E-4744-B0CC-AEC48A972A2D}" type="parTrans" cxnId="{8C14BB0E-7B9B-4AFE-A1CA-BB0B295CC032}">
      <dgm:prSet/>
      <dgm:spPr/>
      <dgm:t>
        <a:bodyPr/>
        <a:lstStyle/>
        <a:p>
          <a:endParaRPr lang="en-US"/>
        </a:p>
      </dgm:t>
    </dgm:pt>
    <dgm:pt modelId="{64CC3659-004C-4AB1-9920-BCFC314AF1F2}" type="sibTrans" cxnId="{8C14BB0E-7B9B-4AFE-A1CA-BB0B295CC032}">
      <dgm:prSet/>
      <dgm:spPr/>
      <dgm:t>
        <a:bodyPr/>
        <a:lstStyle/>
        <a:p>
          <a:endParaRPr lang="en-US"/>
        </a:p>
      </dgm:t>
    </dgm:pt>
    <dgm:pt modelId="{BA5D76D4-02AA-45C5-82C8-2A7CC7F34638}">
      <dgm:prSet/>
      <dgm:spPr/>
      <dgm:t>
        <a:bodyPr/>
        <a:lstStyle/>
        <a:p>
          <a:endParaRPr lang="en-US"/>
        </a:p>
      </dgm:t>
    </dgm:pt>
    <dgm:pt modelId="{ECC6B342-34F1-4070-BC1A-9D00B04043D6}" type="parTrans" cxnId="{5EDAD10D-CA15-44D9-8D6C-FB0909896A0E}">
      <dgm:prSet/>
      <dgm:spPr/>
      <dgm:t>
        <a:bodyPr/>
        <a:lstStyle/>
        <a:p>
          <a:endParaRPr lang="en-US"/>
        </a:p>
      </dgm:t>
    </dgm:pt>
    <dgm:pt modelId="{25FBFA35-2BDD-4AF5-AC71-8DFD9E9F1F4D}" type="sibTrans" cxnId="{5EDAD10D-CA15-44D9-8D6C-FB0909896A0E}">
      <dgm:prSet/>
      <dgm:spPr/>
      <dgm:t>
        <a:bodyPr/>
        <a:lstStyle/>
        <a:p>
          <a:endParaRPr lang="en-US"/>
        </a:p>
      </dgm:t>
    </dgm:pt>
    <dgm:pt modelId="{5CF47F27-3679-419D-8721-C569F6B20F60}">
      <dgm:prSet/>
      <dgm:spPr/>
      <dgm:t>
        <a:bodyPr/>
        <a:lstStyle/>
        <a:p>
          <a:r>
            <a:rPr lang="en-US" b="0" i="0"/>
            <a:t>When a table has a clustered index, the object is called  clustered table.</a:t>
          </a:r>
          <a:endParaRPr lang="en-US" b="0"/>
        </a:p>
      </dgm:t>
    </dgm:pt>
    <dgm:pt modelId="{D72F91F8-EB10-426E-B407-9CCA87548B8F}" type="parTrans" cxnId="{7CD02078-5802-4843-B1F3-8D3FD3C372D9}">
      <dgm:prSet/>
      <dgm:spPr/>
      <dgm:t>
        <a:bodyPr/>
        <a:lstStyle/>
        <a:p>
          <a:endParaRPr lang="en-US"/>
        </a:p>
      </dgm:t>
    </dgm:pt>
    <dgm:pt modelId="{0C66922D-366B-4F6A-A995-2F051C0DE38B}" type="sibTrans" cxnId="{7CD02078-5802-4843-B1F3-8D3FD3C372D9}">
      <dgm:prSet/>
      <dgm:spPr/>
      <dgm:t>
        <a:bodyPr/>
        <a:lstStyle/>
        <a:p>
          <a:endParaRPr lang="en-US"/>
        </a:p>
      </dgm:t>
    </dgm:pt>
    <dgm:pt modelId="{E1556876-62DA-438E-9D58-422625E8657D}">
      <dgm:prSet/>
      <dgm:spPr/>
      <dgm:t>
        <a:bodyPr/>
        <a:lstStyle/>
        <a:p>
          <a:r>
            <a:rPr lang="en-US" b="0" dirty="0"/>
            <a:t>Cluster key is added to nonclustered index (as the pointer), keep it as narrow as possible.</a:t>
          </a:r>
        </a:p>
      </dgm:t>
    </dgm:pt>
    <dgm:pt modelId="{FCBFA3D6-7861-4C91-A9B0-B84A1E796A4D}" type="parTrans" cxnId="{BD1424FE-D58B-4B35-927A-CA3D54A7735A}">
      <dgm:prSet/>
      <dgm:spPr/>
      <dgm:t>
        <a:bodyPr/>
        <a:lstStyle/>
        <a:p>
          <a:endParaRPr lang="en-US"/>
        </a:p>
      </dgm:t>
    </dgm:pt>
    <dgm:pt modelId="{ED27DD5F-0B4D-467D-97DD-D25A945B244B}" type="sibTrans" cxnId="{BD1424FE-D58B-4B35-927A-CA3D54A7735A}">
      <dgm:prSet/>
      <dgm:spPr/>
      <dgm:t>
        <a:bodyPr/>
        <a:lstStyle/>
        <a:p>
          <a:endParaRPr lang="en-US"/>
        </a:p>
      </dgm:t>
    </dgm:pt>
    <dgm:pt modelId="{59131D91-CC1A-4423-98BF-02C35D118735}" type="pres">
      <dgm:prSet presAssocID="{D10FF6C0-E6CD-4147-838D-4B599EEE10A8}" presName="Name0" presStyleCnt="0">
        <dgm:presLayoutVars>
          <dgm:dir/>
          <dgm:animLvl val="lvl"/>
          <dgm:resizeHandles val="exact"/>
        </dgm:presLayoutVars>
      </dgm:prSet>
      <dgm:spPr/>
    </dgm:pt>
    <dgm:pt modelId="{50BD7240-FC43-4C93-B522-86D5274B5683}" type="pres">
      <dgm:prSet presAssocID="{BF6FB160-B554-4F55-84C6-4B8AC1EB349C}" presName="composite" presStyleCnt="0"/>
      <dgm:spPr/>
    </dgm:pt>
    <dgm:pt modelId="{9479630F-50BE-409E-86C9-441827C6F625}" type="pres">
      <dgm:prSet presAssocID="{BF6FB160-B554-4F55-84C6-4B8AC1EB349C}" presName="parTx" presStyleLbl="alignNode1" presStyleIdx="0" presStyleCnt="2">
        <dgm:presLayoutVars>
          <dgm:chMax val="0"/>
          <dgm:chPref val="0"/>
          <dgm:bulletEnabled val="1"/>
        </dgm:presLayoutVars>
      </dgm:prSet>
      <dgm:spPr/>
    </dgm:pt>
    <dgm:pt modelId="{F2F5B685-C057-477F-88B0-0EC77369843A}" type="pres">
      <dgm:prSet presAssocID="{BF6FB160-B554-4F55-84C6-4B8AC1EB349C}" presName="desTx" presStyleLbl="alignAccFollowNode1" presStyleIdx="0" presStyleCnt="2">
        <dgm:presLayoutVars>
          <dgm:bulletEnabled val="1"/>
        </dgm:presLayoutVars>
      </dgm:prSet>
      <dgm:spPr/>
    </dgm:pt>
    <dgm:pt modelId="{5B7CDD57-0140-493C-919E-74C34F1FA488}" type="pres">
      <dgm:prSet presAssocID="{3B6D2E0E-8028-4D40-AA1A-92925093C7DA}" presName="space" presStyleCnt="0"/>
      <dgm:spPr/>
    </dgm:pt>
    <dgm:pt modelId="{93A2BB81-FCEC-4D56-840C-CCF68797B707}" type="pres">
      <dgm:prSet presAssocID="{821D27D6-E6BB-489A-AA34-05A29A2B55D8}" presName="composite" presStyleCnt="0"/>
      <dgm:spPr/>
    </dgm:pt>
    <dgm:pt modelId="{4D155514-D448-46D1-BE52-48EDAE035B28}" type="pres">
      <dgm:prSet presAssocID="{821D27D6-E6BB-489A-AA34-05A29A2B55D8}" presName="parTx" presStyleLbl="alignNode1" presStyleIdx="1" presStyleCnt="2">
        <dgm:presLayoutVars>
          <dgm:chMax val="0"/>
          <dgm:chPref val="0"/>
          <dgm:bulletEnabled val="1"/>
        </dgm:presLayoutVars>
      </dgm:prSet>
      <dgm:spPr/>
    </dgm:pt>
    <dgm:pt modelId="{C931E9E9-FBEF-41AA-A7A6-BCFE74984E33}" type="pres">
      <dgm:prSet presAssocID="{821D27D6-E6BB-489A-AA34-05A29A2B55D8}" presName="desTx" presStyleLbl="alignAccFollowNode1" presStyleIdx="1" presStyleCnt="2">
        <dgm:presLayoutVars>
          <dgm:bulletEnabled val="1"/>
        </dgm:presLayoutVars>
      </dgm:prSet>
      <dgm:spPr/>
    </dgm:pt>
  </dgm:ptLst>
  <dgm:cxnLst>
    <dgm:cxn modelId="{30B55308-A7E8-4A83-B5B3-457CD508B125}" srcId="{D10FF6C0-E6CD-4147-838D-4B599EEE10A8}" destId="{821D27D6-E6BB-489A-AA34-05A29A2B55D8}" srcOrd="1" destOrd="0" parTransId="{77792C74-34E3-4F61-B7A9-66B3A3504BA8}" sibTransId="{D0AD591B-0571-474B-AB70-6C560A1A821C}"/>
    <dgm:cxn modelId="{541E130A-5DC0-47EB-988D-897020EF6CA5}" srcId="{821D27D6-E6BB-489A-AA34-05A29A2B55D8}" destId="{EA0039EC-765D-47A6-A454-EB79FFB7D6D0}" srcOrd="2" destOrd="0" parTransId="{B2BA17B9-EB15-4C17-A522-BA46BE165620}" sibTransId="{FF337856-94F4-49CB-B152-304486D57661}"/>
    <dgm:cxn modelId="{5EDAD10D-CA15-44D9-8D6C-FB0909896A0E}" srcId="{BF6FB160-B554-4F55-84C6-4B8AC1EB349C}" destId="{BA5D76D4-02AA-45C5-82C8-2A7CC7F34638}" srcOrd="5" destOrd="0" parTransId="{ECC6B342-34F1-4070-BC1A-9D00B04043D6}" sibTransId="{25FBFA35-2BDD-4AF5-AC71-8DFD9E9F1F4D}"/>
    <dgm:cxn modelId="{8C14BB0E-7B9B-4AFE-A1CA-BB0B295CC032}" srcId="{BF6FB160-B554-4F55-84C6-4B8AC1EB349C}" destId="{E9EA3D65-13F7-43C9-94E0-E8C0C3A64BD1}" srcOrd="6" destOrd="0" parTransId="{FD5FD4D2-3B3E-4744-B0CC-AEC48A972A2D}" sibTransId="{64CC3659-004C-4AB1-9920-BCFC314AF1F2}"/>
    <dgm:cxn modelId="{74709613-54EC-46E2-8243-942A2BBF6DE7}" type="presOf" srcId="{EA0039EC-765D-47A6-A454-EB79FFB7D6D0}" destId="{C931E9E9-FBEF-41AA-A7A6-BCFE74984E33}" srcOrd="0" destOrd="4" presId="urn:microsoft.com/office/officeart/2005/8/layout/hList1"/>
    <dgm:cxn modelId="{CF452B24-3F93-4170-8902-405A322CC480}" type="presOf" srcId="{E1556876-62DA-438E-9D58-422625E8657D}" destId="{F2F5B685-C057-477F-88B0-0EC77369843A}" srcOrd="0" destOrd="4" presId="urn:microsoft.com/office/officeart/2005/8/layout/hList1"/>
    <dgm:cxn modelId="{BBFFA024-47EA-48BD-AB19-E93918860658}" srcId="{EFBC3BA4-BA6A-47A9-9AD7-EB80D928D2A1}" destId="{27DB2621-D425-4E88-BA49-3BB127CFCFEB}" srcOrd="0" destOrd="0" parTransId="{A83B9BB3-1685-441B-ADA5-C317416068D4}" sibTransId="{0059C056-2D42-42E4-BA90-BA243E56B135}"/>
    <dgm:cxn modelId="{4212C62D-0279-421F-97DB-E397499DDD23}" srcId="{BF6FB160-B554-4F55-84C6-4B8AC1EB349C}" destId="{D32ECA96-70EF-4871-9F06-DC288D98D39B}" srcOrd="2" destOrd="0" parTransId="{53F4D5DB-F64A-43A7-A560-E23C5C9CD81B}" sibTransId="{812532DA-2325-42E9-80C9-AFDC1165BC69}"/>
    <dgm:cxn modelId="{2E705E44-63C8-4BDC-9908-A2824C63C049}" type="presOf" srcId="{1EB32244-5DD4-4097-913E-BE6EA4FDFBEC}" destId="{C931E9E9-FBEF-41AA-A7A6-BCFE74984E33}" srcOrd="0" destOrd="6" presId="urn:microsoft.com/office/officeart/2005/8/layout/hList1"/>
    <dgm:cxn modelId="{5B95C044-DD02-440C-AACC-7607D0128C6E}" srcId="{821D27D6-E6BB-489A-AA34-05A29A2B55D8}" destId="{EFBC3BA4-BA6A-47A9-9AD7-EB80D928D2A1}" srcOrd="1" destOrd="0" parTransId="{99EE8FB9-E488-4179-86E8-D2B27FA4F871}" sibTransId="{031357DF-52E1-4857-813E-69862D5B3931}"/>
    <dgm:cxn modelId="{8D81FE6D-8CCB-4C42-9B40-CD3258B3BF95}" type="presOf" srcId="{F7771B0A-A471-425B-8C85-8C71A49056D5}" destId="{F2F5B685-C057-477F-88B0-0EC77369843A}" srcOrd="0" destOrd="0" presId="urn:microsoft.com/office/officeart/2005/8/layout/hList1"/>
    <dgm:cxn modelId="{B4EDB34E-7222-4E53-9FC6-499CE697EE04}" srcId="{BF6FB160-B554-4F55-84C6-4B8AC1EB349C}" destId="{0E663FDF-FCC5-400F-8536-56677CA3DC90}" srcOrd="1" destOrd="0" parTransId="{024ED45B-AD1F-47FC-B6D3-7C981BCA672E}" sibTransId="{9A7F8172-4DFF-47D1-87FF-1522EA3D6E58}"/>
    <dgm:cxn modelId="{FAB31A73-A55B-41E9-8061-F9589D7EE769}" type="presOf" srcId="{EFBC3BA4-BA6A-47A9-9AD7-EB80D928D2A1}" destId="{C931E9E9-FBEF-41AA-A7A6-BCFE74984E33}" srcOrd="0" destOrd="1" presId="urn:microsoft.com/office/officeart/2005/8/layout/hList1"/>
    <dgm:cxn modelId="{7CD02078-5802-4843-B1F3-8D3FD3C372D9}" srcId="{BF6FB160-B554-4F55-84C6-4B8AC1EB349C}" destId="{5CF47F27-3679-419D-8721-C569F6B20F60}" srcOrd="3" destOrd="0" parTransId="{D72F91F8-EB10-426E-B407-9CCA87548B8F}" sibTransId="{0C66922D-366B-4F6A-A995-2F051C0DE38B}"/>
    <dgm:cxn modelId="{8EB90479-821A-4DCB-83A6-3F897A18BEA6}" srcId="{821D27D6-E6BB-489A-AA34-05A29A2B55D8}" destId="{4800BCFF-DE1E-40E2-BE2D-215CB5F3C3F8}" srcOrd="3" destOrd="0" parTransId="{CF852995-1682-4F08-B1E8-297340B2FA48}" sibTransId="{D2D83A8B-CCCA-42D5-8894-226969206E1B}"/>
    <dgm:cxn modelId="{3F823E84-819D-4421-9D15-136D2C199E92}" srcId="{BF6FB160-B554-4F55-84C6-4B8AC1EB349C}" destId="{F7771B0A-A471-425B-8C85-8C71A49056D5}" srcOrd="0" destOrd="0" parTransId="{9B7434A4-0698-4E6C-BA01-7D2E4AC6CEF7}" sibTransId="{2034D030-38FF-488E-B085-1D9D6DF485E4}"/>
    <dgm:cxn modelId="{2F92AB8F-7B2B-4EEC-9D61-4DFC0E7BBC7B}" srcId="{EFBC3BA4-BA6A-47A9-9AD7-EB80D928D2A1}" destId="{A66791C9-FC66-4711-8CDA-46232279A7C8}" srcOrd="1" destOrd="0" parTransId="{15328F54-E02E-48CD-A9F1-726DFA784C7F}" sibTransId="{DEF56018-7012-4052-B80D-C5E6DE9682E5}"/>
    <dgm:cxn modelId="{6E037290-1F6A-4477-A28D-DD8861A6287B}" type="presOf" srcId="{BF6FB160-B554-4F55-84C6-4B8AC1EB349C}" destId="{9479630F-50BE-409E-86C9-441827C6F625}" srcOrd="0" destOrd="0" presId="urn:microsoft.com/office/officeart/2005/8/layout/hList1"/>
    <dgm:cxn modelId="{F5E95EA6-E194-4474-BAF2-40D70410BA33}" type="presOf" srcId="{E9EA3D65-13F7-43C9-94E0-E8C0C3A64BD1}" destId="{F2F5B685-C057-477F-88B0-0EC77369843A}" srcOrd="0" destOrd="6" presId="urn:microsoft.com/office/officeart/2005/8/layout/hList1"/>
    <dgm:cxn modelId="{860F4CBA-3D09-488E-9D3F-37C05909E92B}" type="presOf" srcId="{0E663FDF-FCC5-400F-8536-56677CA3DC90}" destId="{F2F5B685-C057-477F-88B0-0EC77369843A}" srcOrd="0" destOrd="1" presId="urn:microsoft.com/office/officeart/2005/8/layout/hList1"/>
    <dgm:cxn modelId="{EC27D9C6-22C0-4314-8D34-07555F9CF6C3}" type="presOf" srcId="{821D27D6-E6BB-489A-AA34-05A29A2B55D8}" destId="{4D155514-D448-46D1-BE52-48EDAE035B28}" srcOrd="0" destOrd="0" presId="urn:microsoft.com/office/officeart/2005/8/layout/hList1"/>
    <dgm:cxn modelId="{CD1CD5CE-2BFB-48B5-A4DA-EFE041C3D9D4}" type="presOf" srcId="{A66791C9-FC66-4711-8CDA-46232279A7C8}" destId="{C931E9E9-FBEF-41AA-A7A6-BCFE74984E33}" srcOrd="0" destOrd="3" presId="urn:microsoft.com/office/officeart/2005/8/layout/hList1"/>
    <dgm:cxn modelId="{833E1AD1-BCA4-4C5F-83DE-98E85D44705D}" type="presOf" srcId="{4800BCFF-DE1E-40E2-BE2D-215CB5F3C3F8}" destId="{C931E9E9-FBEF-41AA-A7A6-BCFE74984E33}" srcOrd="0" destOrd="5" presId="urn:microsoft.com/office/officeart/2005/8/layout/hList1"/>
    <dgm:cxn modelId="{39C22DD2-E3C9-4B25-BFE6-05DF9B2DCDBD}" type="presOf" srcId="{5CF47F27-3679-419D-8721-C569F6B20F60}" destId="{F2F5B685-C057-477F-88B0-0EC77369843A}" srcOrd="0" destOrd="3" presId="urn:microsoft.com/office/officeart/2005/8/layout/hList1"/>
    <dgm:cxn modelId="{6EC5EDDD-DC00-49D4-AB5E-AECEFC973CBA}" srcId="{D10FF6C0-E6CD-4147-838D-4B599EEE10A8}" destId="{BF6FB160-B554-4F55-84C6-4B8AC1EB349C}" srcOrd="0" destOrd="0" parTransId="{A3BA0989-2CB0-43C3-B412-54D7EBAC6E6E}" sibTransId="{3B6D2E0E-8028-4D40-AA1A-92925093C7DA}"/>
    <dgm:cxn modelId="{A20DC4E0-9171-4E8C-9559-BF8A420D7EF1}" type="presOf" srcId="{C90E9F2A-0519-4F10-9FEE-DE7D11592927}" destId="{C931E9E9-FBEF-41AA-A7A6-BCFE74984E33}" srcOrd="0" destOrd="0" presId="urn:microsoft.com/office/officeart/2005/8/layout/hList1"/>
    <dgm:cxn modelId="{20B0E2E0-6416-490F-B3E6-DD57A8BC0F4C}" type="presOf" srcId="{D10FF6C0-E6CD-4147-838D-4B599EEE10A8}" destId="{59131D91-CC1A-4423-98BF-02C35D118735}" srcOrd="0" destOrd="0" presId="urn:microsoft.com/office/officeart/2005/8/layout/hList1"/>
    <dgm:cxn modelId="{EE3558EA-E792-4CAF-9B4F-B5AD78A78562}" srcId="{821D27D6-E6BB-489A-AA34-05A29A2B55D8}" destId="{1EB32244-5DD4-4097-913E-BE6EA4FDFBEC}" srcOrd="4" destOrd="0" parTransId="{5197F012-9E05-4591-814A-1D512E9B295D}" sibTransId="{00B5F050-D943-4B27-8835-49511C94F5A0}"/>
    <dgm:cxn modelId="{6A7EFBF0-0EBF-47ED-B28B-E76AD4A8669F}" type="presOf" srcId="{27DB2621-D425-4E88-BA49-3BB127CFCFEB}" destId="{C931E9E9-FBEF-41AA-A7A6-BCFE74984E33}" srcOrd="0" destOrd="2" presId="urn:microsoft.com/office/officeart/2005/8/layout/hList1"/>
    <dgm:cxn modelId="{268F85F3-061C-4916-B67B-068BEBD4531A}" type="presOf" srcId="{D32ECA96-70EF-4871-9F06-DC288D98D39B}" destId="{F2F5B685-C057-477F-88B0-0EC77369843A}" srcOrd="0" destOrd="2" presId="urn:microsoft.com/office/officeart/2005/8/layout/hList1"/>
    <dgm:cxn modelId="{675124F6-F27E-4657-A9BD-5C876EDDAE60}" type="presOf" srcId="{BA5D76D4-02AA-45C5-82C8-2A7CC7F34638}" destId="{F2F5B685-C057-477F-88B0-0EC77369843A}" srcOrd="0" destOrd="5" presId="urn:microsoft.com/office/officeart/2005/8/layout/hList1"/>
    <dgm:cxn modelId="{BD1424FE-D58B-4B35-927A-CA3D54A7735A}" srcId="{BF6FB160-B554-4F55-84C6-4B8AC1EB349C}" destId="{E1556876-62DA-438E-9D58-422625E8657D}" srcOrd="4" destOrd="0" parTransId="{FCBFA3D6-7861-4C91-A9B0-B84A1E796A4D}" sibTransId="{ED27DD5F-0B4D-467D-97DD-D25A945B244B}"/>
    <dgm:cxn modelId="{C0AA77FE-9770-4B0B-A76C-67BCE587CF00}" srcId="{821D27D6-E6BB-489A-AA34-05A29A2B55D8}" destId="{C90E9F2A-0519-4F10-9FEE-DE7D11592927}" srcOrd="0" destOrd="0" parTransId="{34FE8762-E01B-46D0-87C2-9D2226FA0881}" sibTransId="{2C2629FF-47F9-45E8-85E6-17D354302656}"/>
    <dgm:cxn modelId="{2F7E0F9F-C8F9-4B28-8C72-F7B14A61B563}" type="presParOf" srcId="{59131D91-CC1A-4423-98BF-02C35D118735}" destId="{50BD7240-FC43-4C93-B522-86D5274B5683}" srcOrd="0" destOrd="0" presId="urn:microsoft.com/office/officeart/2005/8/layout/hList1"/>
    <dgm:cxn modelId="{02705C5F-52E2-40F7-9504-AE0B8F49994F}" type="presParOf" srcId="{50BD7240-FC43-4C93-B522-86D5274B5683}" destId="{9479630F-50BE-409E-86C9-441827C6F625}" srcOrd="0" destOrd="0" presId="urn:microsoft.com/office/officeart/2005/8/layout/hList1"/>
    <dgm:cxn modelId="{3ACFF50E-C39B-4971-B016-F17BDE3DFDB8}" type="presParOf" srcId="{50BD7240-FC43-4C93-B522-86D5274B5683}" destId="{F2F5B685-C057-477F-88B0-0EC77369843A}" srcOrd="1" destOrd="0" presId="urn:microsoft.com/office/officeart/2005/8/layout/hList1"/>
    <dgm:cxn modelId="{3AFC4629-B52C-42D8-BE4E-978751FDF629}" type="presParOf" srcId="{59131D91-CC1A-4423-98BF-02C35D118735}" destId="{5B7CDD57-0140-493C-919E-74C34F1FA488}" srcOrd="1" destOrd="0" presId="urn:microsoft.com/office/officeart/2005/8/layout/hList1"/>
    <dgm:cxn modelId="{1C6D7193-8987-4F63-822D-804A7C261197}" type="presParOf" srcId="{59131D91-CC1A-4423-98BF-02C35D118735}" destId="{93A2BB81-FCEC-4D56-840C-CCF68797B707}" srcOrd="2" destOrd="0" presId="urn:microsoft.com/office/officeart/2005/8/layout/hList1"/>
    <dgm:cxn modelId="{742E2106-E7C7-4725-A83D-EB164441CFCC}" type="presParOf" srcId="{93A2BB81-FCEC-4D56-840C-CCF68797B707}" destId="{4D155514-D448-46D1-BE52-48EDAE035B28}" srcOrd="0" destOrd="0" presId="urn:microsoft.com/office/officeart/2005/8/layout/hList1"/>
    <dgm:cxn modelId="{D63770E8-7B59-4EB9-8625-A7D26F82C550}" type="presParOf" srcId="{93A2BB81-FCEC-4D56-840C-CCF68797B707}" destId="{C931E9E9-FBEF-41AA-A7A6-BCFE74984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2DD37B5-6A11-41D4-A886-9FFF022E8E2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73D9ED28-9151-4190-A3BB-ACA6DC091472}">
      <dgm:prSet/>
      <dgm:spPr/>
      <dgm:t>
        <a:bodyPr/>
        <a:lstStyle/>
        <a:p>
          <a:pPr>
            <a:lnSpc>
              <a:spcPct val="100000"/>
            </a:lnSpc>
          </a:pPr>
          <a:r>
            <a:rPr lang="en-US" dirty="0"/>
            <a:t>Logical fragmentation</a:t>
          </a:r>
        </a:p>
      </dgm:t>
    </dgm:pt>
    <dgm:pt modelId="{70CD2FF3-8B5B-4EF7-B809-51995BC5E6B3}" type="parTrans" cxnId="{23D4F79B-0BB6-42C8-81C0-4A49A443EE2C}">
      <dgm:prSet/>
      <dgm:spPr/>
      <dgm:t>
        <a:bodyPr/>
        <a:lstStyle/>
        <a:p>
          <a:endParaRPr lang="en-US"/>
        </a:p>
      </dgm:t>
    </dgm:pt>
    <dgm:pt modelId="{61EC6D44-59B4-4DEF-8FA9-FAAC6A030983}" type="sibTrans" cxnId="{23D4F79B-0BB6-42C8-81C0-4A49A443EE2C}">
      <dgm:prSet/>
      <dgm:spPr/>
      <dgm:t>
        <a:bodyPr/>
        <a:lstStyle/>
        <a:p>
          <a:endParaRPr lang="en-US"/>
        </a:p>
      </dgm:t>
    </dgm:pt>
    <dgm:pt modelId="{0956B101-27E3-4A85-91AF-1BCD38CB4250}">
      <dgm:prSet/>
      <dgm:spPr/>
      <dgm:t>
        <a:bodyPr/>
        <a:lstStyle/>
        <a:p>
          <a:r>
            <a:rPr lang="en-US"/>
            <a:t>Occurs when leaf level pages are not physically corresponding to the logical order of the index:</a:t>
          </a:r>
        </a:p>
      </dgm:t>
    </dgm:pt>
    <dgm:pt modelId="{36B208DE-C605-4213-9CD1-C5ADAD3FE086}" type="parTrans" cxnId="{3C5914FA-25D1-4D71-9CB8-DCDAAE05634B}">
      <dgm:prSet/>
      <dgm:spPr/>
      <dgm:t>
        <a:bodyPr/>
        <a:lstStyle/>
        <a:p>
          <a:endParaRPr lang="en-US"/>
        </a:p>
      </dgm:t>
    </dgm:pt>
    <dgm:pt modelId="{8015C74F-7C87-4DDB-9EEB-E35BAC7D96C1}" type="sibTrans" cxnId="{3C5914FA-25D1-4D71-9CB8-DCDAAE05634B}">
      <dgm:prSet/>
      <dgm:spPr/>
      <dgm:t>
        <a:bodyPr/>
        <a:lstStyle/>
        <a:p>
          <a:endParaRPr lang="en-US"/>
        </a:p>
      </dgm:t>
    </dgm:pt>
    <dgm:pt modelId="{9ED7650E-8825-4EB4-B979-A5BF88F89511}">
      <dgm:prSet/>
      <dgm:spPr/>
      <dgm:t>
        <a:bodyPr/>
        <a:lstStyle/>
        <a:p>
          <a:r>
            <a:rPr lang="en-US"/>
            <a:t>Pages are not in the most efficient order for scanning purposes.</a:t>
          </a:r>
        </a:p>
      </dgm:t>
    </dgm:pt>
    <dgm:pt modelId="{B8148CC2-E959-4A38-A366-E746EED36634}" type="parTrans" cxnId="{FFF8D6E4-EBA0-48EA-9685-2F256D7E23E7}">
      <dgm:prSet/>
      <dgm:spPr/>
      <dgm:t>
        <a:bodyPr/>
        <a:lstStyle/>
        <a:p>
          <a:endParaRPr lang="en-US"/>
        </a:p>
      </dgm:t>
    </dgm:pt>
    <dgm:pt modelId="{C893F246-F78D-4EB5-8EA6-805C96734A65}" type="sibTrans" cxnId="{FFF8D6E4-EBA0-48EA-9685-2F256D7E23E7}">
      <dgm:prSet/>
      <dgm:spPr/>
      <dgm:t>
        <a:bodyPr/>
        <a:lstStyle/>
        <a:p>
          <a:endParaRPr lang="en-US"/>
        </a:p>
      </dgm:t>
    </dgm:pt>
    <dgm:pt modelId="{C8B381AE-7352-4AFE-94FF-280BC8211C94}">
      <dgm:prSet/>
      <dgm:spPr/>
      <dgm:t>
        <a:bodyPr/>
        <a:lstStyle/>
        <a:p>
          <a:r>
            <a:rPr lang="en-US"/>
            <a:t>Limits the efficiency of read-ahead scans, but not seeks. </a:t>
          </a:r>
        </a:p>
      </dgm:t>
    </dgm:pt>
    <dgm:pt modelId="{F3370837-3D1D-4370-9CED-63794A3A2A45}" type="parTrans" cxnId="{700C9665-6120-4610-9148-40863F90CEC9}">
      <dgm:prSet/>
      <dgm:spPr/>
      <dgm:t>
        <a:bodyPr/>
        <a:lstStyle/>
        <a:p>
          <a:endParaRPr lang="en-US"/>
        </a:p>
      </dgm:t>
    </dgm:pt>
    <dgm:pt modelId="{6D41AAA6-434A-4C96-9552-B71811653EE1}" type="sibTrans" cxnId="{700C9665-6120-4610-9148-40863F90CEC9}">
      <dgm:prSet/>
      <dgm:spPr/>
      <dgm:t>
        <a:bodyPr/>
        <a:lstStyle/>
        <a:p>
          <a:endParaRPr lang="en-US"/>
        </a:p>
      </dgm:t>
    </dgm:pt>
    <dgm:pt modelId="{DECBEAAE-D565-48C7-BD63-390657079615}">
      <dgm:prSet/>
      <dgm:spPr/>
      <dgm:t>
        <a:bodyPr/>
        <a:lstStyle/>
        <a:p>
          <a:pPr>
            <a:lnSpc>
              <a:spcPct val="100000"/>
            </a:lnSpc>
          </a:pPr>
          <a:r>
            <a:rPr lang="en-US" dirty="0"/>
            <a:t>Page density</a:t>
          </a:r>
        </a:p>
      </dgm:t>
    </dgm:pt>
    <dgm:pt modelId="{80ADA7D4-09F9-4C18-A846-90FE53BE6750}" type="parTrans" cxnId="{105EA0C3-9EA4-4222-B297-1A5E595278CC}">
      <dgm:prSet/>
      <dgm:spPr/>
      <dgm:t>
        <a:bodyPr/>
        <a:lstStyle/>
        <a:p>
          <a:endParaRPr lang="en-US"/>
        </a:p>
      </dgm:t>
    </dgm:pt>
    <dgm:pt modelId="{BEDB0194-3EC6-40C8-8814-81593A7FCFD0}" type="sibTrans" cxnId="{105EA0C3-9EA4-4222-B297-1A5E595278CC}">
      <dgm:prSet/>
      <dgm:spPr/>
      <dgm:t>
        <a:bodyPr/>
        <a:lstStyle/>
        <a:p>
          <a:endParaRPr lang="en-US"/>
        </a:p>
      </dgm:t>
    </dgm:pt>
    <dgm:pt modelId="{0DEBE17C-3BBB-4FD6-B128-4196C1FAA38E}">
      <dgm:prSet/>
      <dgm:spPr/>
      <dgm:t>
        <a:bodyPr/>
        <a:lstStyle/>
        <a:p>
          <a:pPr>
            <a:lnSpc>
              <a:spcPct val="100000"/>
            </a:lnSpc>
          </a:pPr>
          <a:r>
            <a:rPr lang="en-US" dirty="0"/>
            <a:t>How full a page is when a rebuild/reorganization occurs.</a:t>
          </a:r>
        </a:p>
      </dgm:t>
    </dgm:pt>
    <dgm:pt modelId="{74EBBBB4-3B7A-45C4-ACD3-C50B64BD6F3D}" type="parTrans" cxnId="{CE2496C7-9610-4645-99DF-821C453F712E}">
      <dgm:prSet/>
      <dgm:spPr/>
      <dgm:t>
        <a:bodyPr/>
        <a:lstStyle/>
        <a:p>
          <a:endParaRPr lang="en-US"/>
        </a:p>
      </dgm:t>
    </dgm:pt>
    <dgm:pt modelId="{37C6E58F-BE1A-4ACC-BD55-B583CD6E19F9}" type="sibTrans" cxnId="{CE2496C7-9610-4645-99DF-821C453F712E}">
      <dgm:prSet/>
      <dgm:spPr/>
      <dgm:t>
        <a:bodyPr/>
        <a:lstStyle/>
        <a:p>
          <a:endParaRPr lang="en-US"/>
        </a:p>
      </dgm:t>
    </dgm:pt>
    <dgm:pt modelId="{85708182-DA46-48FF-8B68-B1ECDCBD858A}">
      <dgm:prSet/>
      <dgm:spPr/>
      <dgm:t>
        <a:bodyPr/>
        <a:lstStyle/>
        <a:p>
          <a:pPr>
            <a:lnSpc>
              <a:spcPct val="100000"/>
            </a:lnSpc>
          </a:pPr>
          <a:r>
            <a:rPr lang="en-US" dirty="0"/>
            <a:t>The fuller a page is, the more likely page splits occur when data is modified.</a:t>
          </a:r>
        </a:p>
      </dgm:t>
    </dgm:pt>
    <dgm:pt modelId="{2390C6F1-FA81-41E2-AEB2-F5EE6C915BB3}" type="parTrans" cxnId="{B7DAEF91-FFD9-43E8-AA64-EEC9928E72CB}">
      <dgm:prSet/>
      <dgm:spPr/>
      <dgm:t>
        <a:bodyPr/>
        <a:lstStyle/>
        <a:p>
          <a:endParaRPr lang="en-US"/>
        </a:p>
      </dgm:t>
    </dgm:pt>
    <dgm:pt modelId="{AC62A907-3379-465B-9DB3-C42FB50C9A37}" type="sibTrans" cxnId="{B7DAEF91-FFD9-43E8-AA64-EEC9928E72CB}">
      <dgm:prSet/>
      <dgm:spPr/>
      <dgm:t>
        <a:bodyPr/>
        <a:lstStyle/>
        <a:p>
          <a:endParaRPr lang="en-US"/>
        </a:p>
      </dgm:t>
    </dgm:pt>
    <dgm:pt modelId="{85331DEE-8EB0-4FCB-B9C2-500CFBCEF8B8}">
      <dgm:prSet/>
      <dgm:spPr/>
      <dgm:t>
        <a:bodyPr/>
        <a:lstStyle/>
        <a:p>
          <a:pPr>
            <a:lnSpc>
              <a:spcPct val="100000"/>
            </a:lnSpc>
          </a:pPr>
          <a:r>
            <a:rPr lang="en-US" dirty="0"/>
            <a:t>The less full a page is, the more wasted space in the buffer pool when reading pages.</a:t>
          </a:r>
        </a:p>
      </dgm:t>
    </dgm:pt>
    <dgm:pt modelId="{FF767325-9619-4786-9476-7F0817E48E6D}" type="parTrans" cxnId="{B94BC474-9F58-4680-8408-DFBAFD0D3310}">
      <dgm:prSet/>
      <dgm:spPr/>
      <dgm:t>
        <a:bodyPr/>
        <a:lstStyle/>
        <a:p>
          <a:endParaRPr lang="en-US"/>
        </a:p>
      </dgm:t>
    </dgm:pt>
    <dgm:pt modelId="{928AF1BD-A7EF-45EA-B7E5-C00FD4041E8C}" type="sibTrans" cxnId="{B94BC474-9F58-4680-8408-DFBAFD0D3310}">
      <dgm:prSet/>
      <dgm:spPr/>
      <dgm:t>
        <a:bodyPr/>
        <a:lstStyle/>
        <a:p>
          <a:endParaRPr lang="en-US"/>
        </a:p>
      </dgm:t>
    </dgm:pt>
    <dgm:pt modelId="{C4CD706D-897E-4D4F-AEC5-24401612504F}" type="pres">
      <dgm:prSet presAssocID="{42DD37B5-6A11-41D4-A886-9FFF022E8E22}" presName="Name0" presStyleCnt="0">
        <dgm:presLayoutVars>
          <dgm:dir/>
          <dgm:animLvl val="lvl"/>
          <dgm:resizeHandles val="exact"/>
        </dgm:presLayoutVars>
      </dgm:prSet>
      <dgm:spPr/>
    </dgm:pt>
    <dgm:pt modelId="{51A400BB-77A3-49BC-B025-9BF78E837B31}" type="pres">
      <dgm:prSet presAssocID="{73D9ED28-9151-4190-A3BB-ACA6DC091472}" presName="composite" presStyleCnt="0"/>
      <dgm:spPr/>
    </dgm:pt>
    <dgm:pt modelId="{E5E38D23-4F5A-46C2-9C4E-C8819AB3118D}" type="pres">
      <dgm:prSet presAssocID="{73D9ED28-9151-4190-A3BB-ACA6DC091472}" presName="parTx" presStyleLbl="alignNode1" presStyleIdx="0" presStyleCnt="2">
        <dgm:presLayoutVars>
          <dgm:chMax val="0"/>
          <dgm:chPref val="0"/>
          <dgm:bulletEnabled val="1"/>
        </dgm:presLayoutVars>
      </dgm:prSet>
      <dgm:spPr/>
    </dgm:pt>
    <dgm:pt modelId="{3469F410-2A05-43B8-84DB-D10E42D0EA9C}" type="pres">
      <dgm:prSet presAssocID="{73D9ED28-9151-4190-A3BB-ACA6DC091472}" presName="desTx" presStyleLbl="alignAccFollowNode1" presStyleIdx="0" presStyleCnt="2">
        <dgm:presLayoutVars>
          <dgm:bulletEnabled val="1"/>
        </dgm:presLayoutVars>
      </dgm:prSet>
      <dgm:spPr/>
    </dgm:pt>
    <dgm:pt modelId="{3CCB6D98-2CE4-4788-92C4-D8A16119F3CD}" type="pres">
      <dgm:prSet presAssocID="{61EC6D44-59B4-4DEF-8FA9-FAAC6A030983}" presName="space" presStyleCnt="0"/>
      <dgm:spPr/>
    </dgm:pt>
    <dgm:pt modelId="{127B67BE-3ACD-4480-AD10-2EC17956DC34}" type="pres">
      <dgm:prSet presAssocID="{DECBEAAE-D565-48C7-BD63-390657079615}" presName="composite" presStyleCnt="0"/>
      <dgm:spPr/>
    </dgm:pt>
    <dgm:pt modelId="{A7014651-2CCA-4E07-B04E-06E52AFC8E74}" type="pres">
      <dgm:prSet presAssocID="{DECBEAAE-D565-48C7-BD63-390657079615}" presName="parTx" presStyleLbl="alignNode1" presStyleIdx="1" presStyleCnt="2">
        <dgm:presLayoutVars>
          <dgm:chMax val="0"/>
          <dgm:chPref val="0"/>
          <dgm:bulletEnabled val="1"/>
        </dgm:presLayoutVars>
      </dgm:prSet>
      <dgm:spPr/>
    </dgm:pt>
    <dgm:pt modelId="{CD977AA8-4F76-4E54-AE6F-EAAC6ECF6B9A}" type="pres">
      <dgm:prSet presAssocID="{DECBEAAE-D565-48C7-BD63-390657079615}" presName="desTx" presStyleLbl="alignAccFollowNode1" presStyleIdx="1" presStyleCnt="2">
        <dgm:presLayoutVars>
          <dgm:bulletEnabled val="1"/>
        </dgm:presLayoutVars>
      </dgm:prSet>
      <dgm:spPr/>
    </dgm:pt>
  </dgm:ptLst>
  <dgm:cxnLst>
    <dgm:cxn modelId="{B02A7339-DB32-4A35-B5EB-FBFF880F12FF}" type="presOf" srcId="{DECBEAAE-D565-48C7-BD63-390657079615}" destId="{A7014651-2CCA-4E07-B04E-06E52AFC8E74}" srcOrd="0" destOrd="0" presId="urn:microsoft.com/office/officeart/2005/8/layout/hList1"/>
    <dgm:cxn modelId="{700C9665-6120-4610-9148-40863F90CEC9}" srcId="{73D9ED28-9151-4190-A3BB-ACA6DC091472}" destId="{C8B381AE-7352-4AFE-94FF-280BC8211C94}" srcOrd="1" destOrd="0" parTransId="{F3370837-3D1D-4370-9CED-63794A3A2A45}" sibTransId="{6D41AAA6-434A-4C96-9552-B71811653EE1}"/>
    <dgm:cxn modelId="{8A34BA45-A2FF-40EF-9FA0-8EACA04283F1}" type="presOf" srcId="{9ED7650E-8825-4EB4-B979-A5BF88F89511}" destId="{3469F410-2A05-43B8-84DB-D10E42D0EA9C}" srcOrd="0" destOrd="1" presId="urn:microsoft.com/office/officeart/2005/8/layout/hList1"/>
    <dgm:cxn modelId="{B94BC474-9F58-4680-8408-DFBAFD0D3310}" srcId="{DECBEAAE-D565-48C7-BD63-390657079615}" destId="{85331DEE-8EB0-4FCB-B9C2-500CFBCEF8B8}" srcOrd="2" destOrd="0" parTransId="{FF767325-9619-4786-9476-7F0817E48E6D}" sibTransId="{928AF1BD-A7EF-45EA-B7E5-C00FD4041E8C}"/>
    <dgm:cxn modelId="{B7DAEF91-FFD9-43E8-AA64-EEC9928E72CB}" srcId="{DECBEAAE-D565-48C7-BD63-390657079615}" destId="{85708182-DA46-48FF-8B68-B1ECDCBD858A}" srcOrd="1" destOrd="0" parTransId="{2390C6F1-FA81-41E2-AEB2-F5EE6C915BB3}" sibTransId="{AC62A907-3379-465B-9DB3-C42FB50C9A37}"/>
    <dgm:cxn modelId="{663BC993-7219-4ECE-B9DA-2AAEF85DBEA3}" type="presOf" srcId="{C8B381AE-7352-4AFE-94FF-280BC8211C94}" destId="{3469F410-2A05-43B8-84DB-D10E42D0EA9C}" srcOrd="0" destOrd="2" presId="urn:microsoft.com/office/officeart/2005/8/layout/hList1"/>
    <dgm:cxn modelId="{23D4F79B-0BB6-42C8-81C0-4A49A443EE2C}" srcId="{42DD37B5-6A11-41D4-A886-9FFF022E8E22}" destId="{73D9ED28-9151-4190-A3BB-ACA6DC091472}" srcOrd="0" destOrd="0" parTransId="{70CD2FF3-8B5B-4EF7-B809-51995BC5E6B3}" sibTransId="{61EC6D44-59B4-4DEF-8FA9-FAAC6A030983}"/>
    <dgm:cxn modelId="{8D67AAA1-A973-4056-908D-A5FE8603226F}" type="presOf" srcId="{85331DEE-8EB0-4FCB-B9C2-500CFBCEF8B8}" destId="{CD977AA8-4F76-4E54-AE6F-EAAC6ECF6B9A}" srcOrd="0" destOrd="2" presId="urn:microsoft.com/office/officeart/2005/8/layout/hList1"/>
    <dgm:cxn modelId="{5861E0A2-B984-4E4B-85D6-26119DB161D4}" type="presOf" srcId="{42DD37B5-6A11-41D4-A886-9FFF022E8E22}" destId="{C4CD706D-897E-4D4F-AEC5-24401612504F}" srcOrd="0" destOrd="0" presId="urn:microsoft.com/office/officeart/2005/8/layout/hList1"/>
    <dgm:cxn modelId="{105EA0C3-9EA4-4222-B297-1A5E595278CC}" srcId="{42DD37B5-6A11-41D4-A886-9FFF022E8E22}" destId="{DECBEAAE-D565-48C7-BD63-390657079615}" srcOrd="1" destOrd="0" parTransId="{80ADA7D4-09F9-4C18-A846-90FE53BE6750}" sibTransId="{BEDB0194-3EC6-40C8-8814-81593A7FCFD0}"/>
    <dgm:cxn modelId="{7D6B39C4-64F9-49EF-AADD-93036506EF72}" type="presOf" srcId="{0956B101-27E3-4A85-91AF-1BCD38CB4250}" destId="{3469F410-2A05-43B8-84DB-D10E42D0EA9C}" srcOrd="0" destOrd="0" presId="urn:microsoft.com/office/officeart/2005/8/layout/hList1"/>
    <dgm:cxn modelId="{874071C4-82A7-4053-87E6-5FE5CE7DD55B}" type="presOf" srcId="{85708182-DA46-48FF-8B68-B1ECDCBD858A}" destId="{CD977AA8-4F76-4E54-AE6F-EAAC6ECF6B9A}" srcOrd="0" destOrd="1" presId="urn:microsoft.com/office/officeart/2005/8/layout/hList1"/>
    <dgm:cxn modelId="{CE2496C7-9610-4645-99DF-821C453F712E}" srcId="{DECBEAAE-D565-48C7-BD63-390657079615}" destId="{0DEBE17C-3BBB-4FD6-B128-4196C1FAA38E}" srcOrd="0" destOrd="0" parTransId="{74EBBBB4-3B7A-45C4-ACD3-C50B64BD6F3D}" sibTransId="{37C6E58F-BE1A-4ACC-BD55-B583CD6E19F9}"/>
    <dgm:cxn modelId="{66B340CB-34F5-4912-A219-20398424C51A}" type="presOf" srcId="{73D9ED28-9151-4190-A3BB-ACA6DC091472}" destId="{E5E38D23-4F5A-46C2-9C4E-C8819AB3118D}" srcOrd="0" destOrd="0" presId="urn:microsoft.com/office/officeart/2005/8/layout/hList1"/>
    <dgm:cxn modelId="{8F37A6CB-C863-4592-92C0-DB9C3BF18777}" type="presOf" srcId="{0DEBE17C-3BBB-4FD6-B128-4196C1FAA38E}" destId="{CD977AA8-4F76-4E54-AE6F-EAAC6ECF6B9A}" srcOrd="0" destOrd="0" presId="urn:microsoft.com/office/officeart/2005/8/layout/hList1"/>
    <dgm:cxn modelId="{FFF8D6E4-EBA0-48EA-9685-2F256D7E23E7}" srcId="{0956B101-27E3-4A85-91AF-1BCD38CB4250}" destId="{9ED7650E-8825-4EB4-B979-A5BF88F89511}" srcOrd="0" destOrd="0" parTransId="{B8148CC2-E959-4A38-A366-E746EED36634}" sibTransId="{C893F246-F78D-4EB5-8EA6-805C96734A65}"/>
    <dgm:cxn modelId="{3C5914FA-25D1-4D71-9CB8-DCDAAE05634B}" srcId="{73D9ED28-9151-4190-A3BB-ACA6DC091472}" destId="{0956B101-27E3-4A85-91AF-1BCD38CB4250}" srcOrd="0" destOrd="0" parTransId="{36B208DE-C605-4213-9CD1-C5ADAD3FE086}" sibTransId="{8015C74F-7C87-4DDB-9EEB-E35BAC7D96C1}"/>
    <dgm:cxn modelId="{7E0B72DC-7AC7-45FA-A04A-B11942C3B0F7}" type="presParOf" srcId="{C4CD706D-897E-4D4F-AEC5-24401612504F}" destId="{51A400BB-77A3-49BC-B025-9BF78E837B31}" srcOrd="0" destOrd="0" presId="urn:microsoft.com/office/officeart/2005/8/layout/hList1"/>
    <dgm:cxn modelId="{435A7E3A-39D8-4F2E-BC8C-C446D82C446D}" type="presParOf" srcId="{51A400BB-77A3-49BC-B025-9BF78E837B31}" destId="{E5E38D23-4F5A-46C2-9C4E-C8819AB3118D}" srcOrd="0" destOrd="0" presId="urn:microsoft.com/office/officeart/2005/8/layout/hList1"/>
    <dgm:cxn modelId="{3216F61B-3240-4BF1-AAAB-CB43C371BA7D}" type="presParOf" srcId="{51A400BB-77A3-49BC-B025-9BF78E837B31}" destId="{3469F410-2A05-43B8-84DB-D10E42D0EA9C}" srcOrd="1" destOrd="0" presId="urn:microsoft.com/office/officeart/2005/8/layout/hList1"/>
    <dgm:cxn modelId="{F84BBC50-6AF5-40E9-9D0A-21CE1735DCE5}" type="presParOf" srcId="{C4CD706D-897E-4D4F-AEC5-24401612504F}" destId="{3CCB6D98-2CE4-4788-92C4-D8A16119F3CD}" srcOrd="1" destOrd="0" presId="urn:microsoft.com/office/officeart/2005/8/layout/hList1"/>
    <dgm:cxn modelId="{7E231836-7E69-47AB-AFF3-86E2B0D30599}" type="presParOf" srcId="{C4CD706D-897E-4D4F-AEC5-24401612504F}" destId="{127B67BE-3ACD-4480-AD10-2EC17956DC34}" srcOrd="2" destOrd="0" presId="urn:microsoft.com/office/officeart/2005/8/layout/hList1"/>
    <dgm:cxn modelId="{D4C2B5BB-7BC7-4C1F-819B-970D79FA7F26}" type="presParOf" srcId="{127B67BE-3ACD-4480-AD10-2EC17956DC34}" destId="{A7014651-2CCA-4E07-B04E-06E52AFC8E74}" srcOrd="0" destOrd="0" presId="urn:microsoft.com/office/officeart/2005/8/layout/hList1"/>
    <dgm:cxn modelId="{CF595358-0E14-4E3E-882E-2223994247E3}" type="presParOf" srcId="{127B67BE-3ACD-4480-AD10-2EC17956DC34}" destId="{CD977AA8-4F76-4E54-AE6F-EAAC6ECF6B9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are the three access methods reviewed in this lesson?</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the three different types of allocations? </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the primary goal of index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A448D31-C715-4C25-A937-6668123F7A8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C0371A71-8227-4A1D-BDBF-7B0C92AF2576}">
      <dgm:prSet/>
      <dgm:spPr/>
      <dgm:t>
        <a:bodyPr/>
        <a:lstStyle/>
        <a:p>
          <a:r>
            <a:rPr lang="en-US" dirty="0"/>
            <a:t>Narrow</a:t>
          </a:r>
        </a:p>
      </dgm:t>
    </dgm:pt>
    <dgm:pt modelId="{2D656315-13CF-4C01-AA11-248F57538071}" type="parTrans" cxnId="{4D4047AF-CE64-429F-965D-CB64EBF5948B}">
      <dgm:prSet/>
      <dgm:spPr/>
      <dgm:t>
        <a:bodyPr/>
        <a:lstStyle/>
        <a:p>
          <a:endParaRPr lang="en-US"/>
        </a:p>
      </dgm:t>
    </dgm:pt>
    <dgm:pt modelId="{FB1FD7B5-2ABC-477D-8B4B-09B69103F2C0}" type="sibTrans" cxnId="{4D4047AF-CE64-429F-965D-CB64EBF5948B}">
      <dgm:prSet/>
      <dgm:spPr/>
      <dgm:t>
        <a:bodyPr/>
        <a:lstStyle/>
        <a:p>
          <a:endParaRPr lang="en-US"/>
        </a:p>
      </dgm:t>
    </dgm:pt>
    <dgm:pt modelId="{05CC7C58-5E8E-4DB2-8DAE-6B81D9124208}">
      <dgm:prSet/>
      <dgm:spPr/>
      <dgm:t>
        <a:bodyPr/>
        <a:lstStyle/>
        <a:p>
          <a:r>
            <a:rPr lang="en-US" dirty="0"/>
            <a:t>Unique</a:t>
          </a:r>
        </a:p>
      </dgm:t>
    </dgm:pt>
    <dgm:pt modelId="{1EF37DE7-9BD7-45A0-83AD-F27AAA8E516A}" type="parTrans" cxnId="{5AFBADDD-0E51-4D82-8D21-9A69B7D73141}">
      <dgm:prSet/>
      <dgm:spPr/>
      <dgm:t>
        <a:bodyPr/>
        <a:lstStyle/>
        <a:p>
          <a:endParaRPr lang="en-US"/>
        </a:p>
      </dgm:t>
    </dgm:pt>
    <dgm:pt modelId="{BD3138C6-7DA8-42D6-B377-E84659E87311}" type="sibTrans" cxnId="{5AFBADDD-0E51-4D82-8D21-9A69B7D73141}">
      <dgm:prSet/>
      <dgm:spPr/>
      <dgm:t>
        <a:bodyPr/>
        <a:lstStyle/>
        <a:p>
          <a:endParaRPr lang="en-US"/>
        </a:p>
      </dgm:t>
    </dgm:pt>
    <dgm:pt modelId="{662C5D3D-0665-42EE-97A9-A2C92B9EFB9E}">
      <dgm:prSet/>
      <dgm:spPr/>
      <dgm:t>
        <a:bodyPr/>
        <a:lstStyle/>
        <a:p>
          <a:r>
            <a:rPr lang="en-US" dirty="0"/>
            <a:t>Static</a:t>
          </a:r>
        </a:p>
      </dgm:t>
    </dgm:pt>
    <dgm:pt modelId="{BA6D6B89-AC46-4E2E-849C-A899AC8B78CD}" type="parTrans" cxnId="{F1831D9B-6397-4396-AE16-86EE913DF3E8}">
      <dgm:prSet/>
      <dgm:spPr/>
      <dgm:t>
        <a:bodyPr/>
        <a:lstStyle/>
        <a:p>
          <a:endParaRPr lang="en-US"/>
        </a:p>
      </dgm:t>
    </dgm:pt>
    <dgm:pt modelId="{A269DC89-F8C8-4BC6-BBD4-777E7BD14620}" type="sibTrans" cxnId="{F1831D9B-6397-4396-AE16-86EE913DF3E8}">
      <dgm:prSet/>
      <dgm:spPr/>
      <dgm:t>
        <a:bodyPr/>
        <a:lstStyle/>
        <a:p>
          <a:endParaRPr lang="en-US"/>
        </a:p>
      </dgm:t>
    </dgm:pt>
    <dgm:pt modelId="{215ECA4E-6BED-40CC-AF21-0A5D146341F1}">
      <dgm:prSet/>
      <dgm:spPr/>
      <dgm:t>
        <a:bodyPr/>
        <a:lstStyle/>
        <a:p>
          <a:r>
            <a:rPr lang="en-US" dirty="0"/>
            <a:t>Increasing</a:t>
          </a:r>
        </a:p>
      </dgm:t>
    </dgm:pt>
    <dgm:pt modelId="{2EBEF36C-1454-467B-B216-499EB0E3F2ED}" type="parTrans" cxnId="{6DCFEE13-01C2-408A-8114-AD1114AAFE20}">
      <dgm:prSet/>
      <dgm:spPr/>
      <dgm:t>
        <a:bodyPr/>
        <a:lstStyle/>
        <a:p>
          <a:endParaRPr lang="en-US"/>
        </a:p>
      </dgm:t>
    </dgm:pt>
    <dgm:pt modelId="{D4CBD46E-BB11-4E91-B801-06DFFC90822F}" type="sibTrans" cxnId="{6DCFEE13-01C2-408A-8114-AD1114AAFE20}">
      <dgm:prSet/>
      <dgm:spPr/>
      <dgm:t>
        <a:bodyPr/>
        <a:lstStyle/>
        <a:p>
          <a:endParaRPr lang="en-US"/>
        </a:p>
      </dgm:t>
    </dgm:pt>
    <dgm:pt modelId="{90FC4E6A-9CC1-47BF-8031-A7B464137FD1}">
      <dgm:prSet/>
      <dgm:spPr/>
      <dgm:t>
        <a:bodyPr/>
        <a:lstStyle/>
        <a:p>
          <a:r>
            <a:rPr lang="en-US" dirty="0"/>
            <a:t>Use a data type with a small number of bytes to conserve space in tables and indexes</a:t>
          </a:r>
        </a:p>
      </dgm:t>
    </dgm:pt>
    <dgm:pt modelId="{C4A42051-0465-45D7-83E3-9AFEBD03CDE4}" type="parTrans" cxnId="{241FCBA3-6D3A-4BC1-BC1E-7D24D867F99A}">
      <dgm:prSet/>
      <dgm:spPr/>
      <dgm:t>
        <a:bodyPr/>
        <a:lstStyle/>
        <a:p>
          <a:endParaRPr lang="en-US"/>
        </a:p>
      </dgm:t>
    </dgm:pt>
    <dgm:pt modelId="{4A7339F3-7E8B-460C-8FE7-A96DC028B0B8}" type="sibTrans" cxnId="{241FCBA3-6D3A-4BC1-BC1E-7D24D867F99A}">
      <dgm:prSet/>
      <dgm:spPr/>
      <dgm:t>
        <a:bodyPr/>
        <a:lstStyle/>
        <a:p>
          <a:endParaRPr lang="en-US"/>
        </a:p>
      </dgm:t>
    </dgm:pt>
    <dgm:pt modelId="{0C51D566-3829-4877-8A55-59F9DB6BA9EA}">
      <dgm:prSet/>
      <dgm:spPr/>
      <dgm:t>
        <a:bodyPr/>
        <a:lstStyle/>
        <a:p>
          <a:r>
            <a:rPr lang="en-US"/>
            <a:t>To avoid SQL adding a 4-byte uniquifier</a:t>
          </a:r>
          <a:endParaRPr lang="en-US" dirty="0"/>
        </a:p>
      </dgm:t>
    </dgm:pt>
    <dgm:pt modelId="{C7AC1F09-F590-49C0-BF6D-6955BF4A45D2}" type="parTrans" cxnId="{B273D146-35D1-485B-9613-6E8D3B2C1F98}">
      <dgm:prSet/>
      <dgm:spPr/>
      <dgm:t>
        <a:bodyPr/>
        <a:lstStyle/>
        <a:p>
          <a:endParaRPr lang="en-US"/>
        </a:p>
      </dgm:t>
    </dgm:pt>
    <dgm:pt modelId="{54724024-5EC3-4292-9A2B-9721470E4EFB}" type="sibTrans" cxnId="{B273D146-35D1-485B-9613-6E8D3B2C1F98}">
      <dgm:prSet/>
      <dgm:spPr/>
      <dgm:t>
        <a:bodyPr/>
        <a:lstStyle/>
        <a:p>
          <a:endParaRPr lang="en-US"/>
        </a:p>
      </dgm:t>
    </dgm:pt>
    <dgm:pt modelId="{CD1FD60E-97BA-40AA-9683-C95AD6289CAC}">
      <dgm:prSet/>
      <dgm:spPr/>
      <dgm:t>
        <a:bodyPr/>
        <a:lstStyle/>
        <a:p>
          <a:r>
            <a:rPr lang="en-US"/>
            <a:t>Allows data to stay constant without constant changes which could lead to page splits</a:t>
          </a:r>
          <a:endParaRPr lang="en-US" dirty="0"/>
        </a:p>
      </dgm:t>
    </dgm:pt>
    <dgm:pt modelId="{CDC9AC7D-6045-490F-A18D-148592DB69C1}" type="parTrans" cxnId="{F2B92B18-7D28-47A1-B28A-32528AF8978C}">
      <dgm:prSet/>
      <dgm:spPr/>
      <dgm:t>
        <a:bodyPr/>
        <a:lstStyle/>
        <a:p>
          <a:endParaRPr lang="en-US"/>
        </a:p>
      </dgm:t>
    </dgm:pt>
    <dgm:pt modelId="{E7EF35AA-35DC-47FE-BBF8-0FE5ECEE9566}" type="sibTrans" cxnId="{F2B92B18-7D28-47A1-B28A-32528AF8978C}">
      <dgm:prSet/>
      <dgm:spPr/>
      <dgm:t>
        <a:bodyPr/>
        <a:lstStyle/>
        <a:p>
          <a:endParaRPr lang="en-US"/>
        </a:p>
      </dgm:t>
    </dgm:pt>
    <dgm:pt modelId="{EDF77BD5-F53D-4028-9B5C-2C0F3FCBDE7E}">
      <dgm:prSet/>
      <dgm:spPr/>
      <dgm:t>
        <a:bodyPr/>
        <a:lstStyle/>
        <a:p>
          <a:r>
            <a:rPr lang="en-US"/>
            <a:t>Allows better write performance and reduces fragmentation issues</a:t>
          </a:r>
          <a:endParaRPr lang="en-US" dirty="0"/>
        </a:p>
      </dgm:t>
    </dgm:pt>
    <dgm:pt modelId="{0F0334B8-6FD8-4E7D-BCEE-259D33BD1EC1}" type="parTrans" cxnId="{3F0A83D7-6757-4353-819D-73652EC1A30D}">
      <dgm:prSet/>
      <dgm:spPr/>
      <dgm:t>
        <a:bodyPr/>
        <a:lstStyle/>
        <a:p>
          <a:endParaRPr lang="en-US"/>
        </a:p>
      </dgm:t>
    </dgm:pt>
    <dgm:pt modelId="{F91CD8F3-230C-4CA9-9AE6-1384EF655549}" type="sibTrans" cxnId="{3F0A83D7-6757-4353-819D-73652EC1A30D}">
      <dgm:prSet/>
      <dgm:spPr/>
      <dgm:t>
        <a:bodyPr/>
        <a:lstStyle/>
        <a:p>
          <a:endParaRPr lang="en-US"/>
        </a:p>
      </dgm:t>
    </dgm:pt>
    <dgm:pt modelId="{586E5153-0484-4F6F-BC44-C3BF5C929FDF}" type="pres">
      <dgm:prSet presAssocID="{1A448D31-C715-4C25-A937-6668123F7A8B}" presName="Name0" presStyleCnt="0">
        <dgm:presLayoutVars>
          <dgm:dir/>
          <dgm:animLvl val="lvl"/>
          <dgm:resizeHandles val="exact"/>
        </dgm:presLayoutVars>
      </dgm:prSet>
      <dgm:spPr/>
    </dgm:pt>
    <dgm:pt modelId="{C548EB57-F384-461B-8E2B-A7FAC29EBA6A}" type="pres">
      <dgm:prSet presAssocID="{C0371A71-8227-4A1D-BDBF-7B0C92AF2576}" presName="composite" presStyleCnt="0"/>
      <dgm:spPr/>
    </dgm:pt>
    <dgm:pt modelId="{F3E41B4A-DFAD-4E95-9962-2C093565E9BF}" type="pres">
      <dgm:prSet presAssocID="{C0371A71-8227-4A1D-BDBF-7B0C92AF2576}" presName="parTx" presStyleLbl="alignNode1" presStyleIdx="0" presStyleCnt="4">
        <dgm:presLayoutVars>
          <dgm:chMax val="0"/>
          <dgm:chPref val="0"/>
          <dgm:bulletEnabled val="1"/>
        </dgm:presLayoutVars>
      </dgm:prSet>
      <dgm:spPr/>
    </dgm:pt>
    <dgm:pt modelId="{3054F010-4FBC-416B-9ABF-97AD6E9C8F0D}" type="pres">
      <dgm:prSet presAssocID="{C0371A71-8227-4A1D-BDBF-7B0C92AF2576}" presName="desTx" presStyleLbl="alignAccFollowNode1" presStyleIdx="0" presStyleCnt="4">
        <dgm:presLayoutVars>
          <dgm:bulletEnabled val="1"/>
        </dgm:presLayoutVars>
      </dgm:prSet>
      <dgm:spPr/>
    </dgm:pt>
    <dgm:pt modelId="{014A359F-251E-4FDC-9EA4-5F7CDF8F5809}" type="pres">
      <dgm:prSet presAssocID="{FB1FD7B5-2ABC-477D-8B4B-09B69103F2C0}" presName="space" presStyleCnt="0"/>
      <dgm:spPr/>
    </dgm:pt>
    <dgm:pt modelId="{FC382FAA-574E-4E24-A8CA-18596325EECF}" type="pres">
      <dgm:prSet presAssocID="{05CC7C58-5E8E-4DB2-8DAE-6B81D9124208}" presName="composite" presStyleCnt="0"/>
      <dgm:spPr/>
    </dgm:pt>
    <dgm:pt modelId="{763147AF-1FF9-485A-9729-4A680B954A40}" type="pres">
      <dgm:prSet presAssocID="{05CC7C58-5E8E-4DB2-8DAE-6B81D9124208}" presName="parTx" presStyleLbl="alignNode1" presStyleIdx="1" presStyleCnt="4">
        <dgm:presLayoutVars>
          <dgm:chMax val="0"/>
          <dgm:chPref val="0"/>
          <dgm:bulletEnabled val="1"/>
        </dgm:presLayoutVars>
      </dgm:prSet>
      <dgm:spPr/>
    </dgm:pt>
    <dgm:pt modelId="{BD48AE27-377F-404D-87E4-1FBB0CF4A686}" type="pres">
      <dgm:prSet presAssocID="{05CC7C58-5E8E-4DB2-8DAE-6B81D9124208}" presName="desTx" presStyleLbl="alignAccFollowNode1" presStyleIdx="1" presStyleCnt="4">
        <dgm:presLayoutVars>
          <dgm:bulletEnabled val="1"/>
        </dgm:presLayoutVars>
      </dgm:prSet>
      <dgm:spPr/>
    </dgm:pt>
    <dgm:pt modelId="{B44909F6-07C4-46FB-B31C-5EF8E0EE82EA}" type="pres">
      <dgm:prSet presAssocID="{BD3138C6-7DA8-42D6-B377-E84659E87311}" presName="space" presStyleCnt="0"/>
      <dgm:spPr/>
    </dgm:pt>
    <dgm:pt modelId="{BA9C574A-6F91-4B49-8F50-E2929848BE84}" type="pres">
      <dgm:prSet presAssocID="{662C5D3D-0665-42EE-97A9-A2C92B9EFB9E}" presName="composite" presStyleCnt="0"/>
      <dgm:spPr/>
    </dgm:pt>
    <dgm:pt modelId="{34B2FABE-8128-4E75-B0F4-F292E9EA6E19}" type="pres">
      <dgm:prSet presAssocID="{662C5D3D-0665-42EE-97A9-A2C92B9EFB9E}" presName="parTx" presStyleLbl="alignNode1" presStyleIdx="2" presStyleCnt="4">
        <dgm:presLayoutVars>
          <dgm:chMax val="0"/>
          <dgm:chPref val="0"/>
          <dgm:bulletEnabled val="1"/>
        </dgm:presLayoutVars>
      </dgm:prSet>
      <dgm:spPr/>
    </dgm:pt>
    <dgm:pt modelId="{BB2779C5-2B1E-4DDB-AC32-7413C221669E}" type="pres">
      <dgm:prSet presAssocID="{662C5D3D-0665-42EE-97A9-A2C92B9EFB9E}" presName="desTx" presStyleLbl="alignAccFollowNode1" presStyleIdx="2" presStyleCnt="4">
        <dgm:presLayoutVars>
          <dgm:bulletEnabled val="1"/>
        </dgm:presLayoutVars>
      </dgm:prSet>
      <dgm:spPr/>
    </dgm:pt>
    <dgm:pt modelId="{2AA6173B-C9C6-493E-91F8-7189213CA1B1}" type="pres">
      <dgm:prSet presAssocID="{A269DC89-F8C8-4BC6-BBD4-777E7BD14620}" presName="space" presStyleCnt="0"/>
      <dgm:spPr/>
    </dgm:pt>
    <dgm:pt modelId="{821CEA09-272C-42E2-9C17-CAB01C0B06C7}" type="pres">
      <dgm:prSet presAssocID="{215ECA4E-6BED-40CC-AF21-0A5D146341F1}" presName="composite" presStyleCnt="0"/>
      <dgm:spPr/>
    </dgm:pt>
    <dgm:pt modelId="{6B9C340A-4C2D-4897-B4C9-C697ACEFEFF6}" type="pres">
      <dgm:prSet presAssocID="{215ECA4E-6BED-40CC-AF21-0A5D146341F1}" presName="parTx" presStyleLbl="alignNode1" presStyleIdx="3" presStyleCnt="4">
        <dgm:presLayoutVars>
          <dgm:chMax val="0"/>
          <dgm:chPref val="0"/>
          <dgm:bulletEnabled val="1"/>
        </dgm:presLayoutVars>
      </dgm:prSet>
      <dgm:spPr/>
    </dgm:pt>
    <dgm:pt modelId="{FF30CCCE-2AE3-4D84-8D37-03DD4AB19273}" type="pres">
      <dgm:prSet presAssocID="{215ECA4E-6BED-40CC-AF21-0A5D146341F1}" presName="desTx" presStyleLbl="alignAccFollowNode1" presStyleIdx="3" presStyleCnt="4">
        <dgm:presLayoutVars>
          <dgm:bulletEnabled val="1"/>
        </dgm:presLayoutVars>
      </dgm:prSet>
      <dgm:spPr/>
    </dgm:pt>
  </dgm:ptLst>
  <dgm:cxnLst>
    <dgm:cxn modelId="{6DCFEE13-01C2-408A-8114-AD1114AAFE20}" srcId="{1A448D31-C715-4C25-A937-6668123F7A8B}" destId="{215ECA4E-6BED-40CC-AF21-0A5D146341F1}" srcOrd="3" destOrd="0" parTransId="{2EBEF36C-1454-467B-B216-499EB0E3F2ED}" sibTransId="{D4CBD46E-BB11-4E91-B801-06DFFC90822F}"/>
    <dgm:cxn modelId="{F2B92B18-7D28-47A1-B28A-32528AF8978C}" srcId="{662C5D3D-0665-42EE-97A9-A2C92B9EFB9E}" destId="{CD1FD60E-97BA-40AA-9683-C95AD6289CAC}" srcOrd="0" destOrd="0" parTransId="{CDC9AC7D-6045-490F-A18D-148592DB69C1}" sibTransId="{E7EF35AA-35DC-47FE-BBF8-0FE5ECEE9566}"/>
    <dgm:cxn modelId="{1F7E2B36-9622-4EE9-855A-E837FE8C392C}" type="presOf" srcId="{05CC7C58-5E8E-4DB2-8DAE-6B81D9124208}" destId="{763147AF-1FF9-485A-9729-4A680B954A40}" srcOrd="0" destOrd="0" presId="urn:microsoft.com/office/officeart/2005/8/layout/hList1"/>
    <dgm:cxn modelId="{B273D146-35D1-485B-9613-6E8D3B2C1F98}" srcId="{05CC7C58-5E8E-4DB2-8DAE-6B81D9124208}" destId="{0C51D566-3829-4877-8A55-59F9DB6BA9EA}" srcOrd="0" destOrd="0" parTransId="{C7AC1F09-F590-49C0-BF6D-6955BF4A45D2}" sibTransId="{54724024-5EC3-4292-9A2B-9721470E4EFB}"/>
    <dgm:cxn modelId="{FB350C83-76C7-4D60-BFF3-B5496A5603CC}" type="presOf" srcId="{C0371A71-8227-4A1D-BDBF-7B0C92AF2576}" destId="{F3E41B4A-DFAD-4E95-9962-2C093565E9BF}" srcOrd="0" destOrd="0" presId="urn:microsoft.com/office/officeart/2005/8/layout/hList1"/>
    <dgm:cxn modelId="{F1831D9B-6397-4396-AE16-86EE913DF3E8}" srcId="{1A448D31-C715-4C25-A937-6668123F7A8B}" destId="{662C5D3D-0665-42EE-97A9-A2C92B9EFB9E}" srcOrd="2" destOrd="0" parTransId="{BA6D6B89-AC46-4E2E-849C-A899AC8B78CD}" sibTransId="{A269DC89-F8C8-4BC6-BBD4-777E7BD14620}"/>
    <dgm:cxn modelId="{241FCBA3-6D3A-4BC1-BC1E-7D24D867F99A}" srcId="{C0371A71-8227-4A1D-BDBF-7B0C92AF2576}" destId="{90FC4E6A-9CC1-47BF-8031-A7B464137FD1}" srcOrd="0" destOrd="0" parTransId="{C4A42051-0465-45D7-83E3-9AFEBD03CDE4}" sibTransId="{4A7339F3-7E8B-460C-8FE7-A96DC028B0B8}"/>
    <dgm:cxn modelId="{4D4047AF-CE64-429F-965D-CB64EBF5948B}" srcId="{1A448D31-C715-4C25-A937-6668123F7A8B}" destId="{C0371A71-8227-4A1D-BDBF-7B0C92AF2576}" srcOrd="0" destOrd="0" parTransId="{2D656315-13CF-4C01-AA11-248F57538071}" sibTransId="{FB1FD7B5-2ABC-477D-8B4B-09B69103F2C0}"/>
    <dgm:cxn modelId="{48CAF2B1-22F7-490D-9080-69B656E285F3}" type="presOf" srcId="{662C5D3D-0665-42EE-97A9-A2C92B9EFB9E}" destId="{34B2FABE-8128-4E75-B0F4-F292E9EA6E19}" srcOrd="0" destOrd="0" presId="urn:microsoft.com/office/officeart/2005/8/layout/hList1"/>
    <dgm:cxn modelId="{035565B9-D9CC-47B7-9B3A-1C4273CC4EE0}" type="presOf" srcId="{1A448D31-C715-4C25-A937-6668123F7A8B}" destId="{586E5153-0484-4F6F-BC44-C3BF5C929FDF}" srcOrd="0" destOrd="0" presId="urn:microsoft.com/office/officeart/2005/8/layout/hList1"/>
    <dgm:cxn modelId="{4FB14ACD-51BA-478D-A46F-76890FA627F6}" type="presOf" srcId="{0C51D566-3829-4877-8A55-59F9DB6BA9EA}" destId="{BD48AE27-377F-404D-87E4-1FBB0CF4A686}" srcOrd="0" destOrd="0" presId="urn:microsoft.com/office/officeart/2005/8/layout/hList1"/>
    <dgm:cxn modelId="{3F0A83D7-6757-4353-819D-73652EC1A30D}" srcId="{215ECA4E-6BED-40CC-AF21-0A5D146341F1}" destId="{EDF77BD5-F53D-4028-9B5C-2C0F3FCBDE7E}" srcOrd="0" destOrd="0" parTransId="{0F0334B8-6FD8-4E7D-BCEE-259D33BD1EC1}" sibTransId="{F91CD8F3-230C-4CA9-9AE6-1384EF655549}"/>
    <dgm:cxn modelId="{935F1CDC-577C-4478-B591-64AB84083553}" type="presOf" srcId="{CD1FD60E-97BA-40AA-9683-C95AD6289CAC}" destId="{BB2779C5-2B1E-4DDB-AC32-7413C221669E}" srcOrd="0" destOrd="0" presId="urn:microsoft.com/office/officeart/2005/8/layout/hList1"/>
    <dgm:cxn modelId="{97B251DD-0E80-46D0-8E67-63505A6ADB69}" type="presOf" srcId="{EDF77BD5-F53D-4028-9B5C-2C0F3FCBDE7E}" destId="{FF30CCCE-2AE3-4D84-8D37-03DD4AB19273}" srcOrd="0" destOrd="0" presId="urn:microsoft.com/office/officeart/2005/8/layout/hList1"/>
    <dgm:cxn modelId="{5AFBADDD-0E51-4D82-8D21-9A69B7D73141}" srcId="{1A448D31-C715-4C25-A937-6668123F7A8B}" destId="{05CC7C58-5E8E-4DB2-8DAE-6B81D9124208}" srcOrd="1" destOrd="0" parTransId="{1EF37DE7-9BD7-45A0-83AD-F27AAA8E516A}" sibTransId="{BD3138C6-7DA8-42D6-B377-E84659E87311}"/>
    <dgm:cxn modelId="{6D8ADDF7-292B-412D-A20C-82979941C8D9}" type="presOf" srcId="{90FC4E6A-9CC1-47BF-8031-A7B464137FD1}" destId="{3054F010-4FBC-416B-9ABF-97AD6E9C8F0D}" srcOrd="0" destOrd="0" presId="urn:microsoft.com/office/officeart/2005/8/layout/hList1"/>
    <dgm:cxn modelId="{7DD744FD-BBD2-4655-9216-574EC898C000}" type="presOf" srcId="{215ECA4E-6BED-40CC-AF21-0A5D146341F1}" destId="{6B9C340A-4C2D-4897-B4C9-C697ACEFEFF6}" srcOrd="0" destOrd="0" presId="urn:microsoft.com/office/officeart/2005/8/layout/hList1"/>
    <dgm:cxn modelId="{3153035A-1D11-4151-BCD9-D7C4C87C8C40}" type="presParOf" srcId="{586E5153-0484-4F6F-BC44-C3BF5C929FDF}" destId="{C548EB57-F384-461B-8E2B-A7FAC29EBA6A}" srcOrd="0" destOrd="0" presId="urn:microsoft.com/office/officeart/2005/8/layout/hList1"/>
    <dgm:cxn modelId="{6EDEB3D4-3F13-422F-9CDC-FFA8E65C05EC}" type="presParOf" srcId="{C548EB57-F384-461B-8E2B-A7FAC29EBA6A}" destId="{F3E41B4A-DFAD-4E95-9962-2C093565E9BF}" srcOrd="0" destOrd="0" presId="urn:microsoft.com/office/officeart/2005/8/layout/hList1"/>
    <dgm:cxn modelId="{6968D1F9-1505-437B-B90E-D5F68FFEB6C9}" type="presParOf" srcId="{C548EB57-F384-461B-8E2B-A7FAC29EBA6A}" destId="{3054F010-4FBC-416B-9ABF-97AD6E9C8F0D}" srcOrd="1" destOrd="0" presId="urn:microsoft.com/office/officeart/2005/8/layout/hList1"/>
    <dgm:cxn modelId="{EE614A14-F1EF-4387-B2D6-1C73D3AF2D5C}" type="presParOf" srcId="{586E5153-0484-4F6F-BC44-C3BF5C929FDF}" destId="{014A359F-251E-4FDC-9EA4-5F7CDF8F5809}" srcOrd="1" destOrd="0" presId="urn:microsoft.com/office/officeart/2005/8/layout/hList1"/>
    <dgm:cxn modelId="{9AD67C64-2064-45BE-B9D7-7DA1B0926509}" type="presParOf" srcId="{586E5153-0484-4F6F-BC44-C3BF5C929FDF}" destId="{FC382FAA-574E-4E24-A8CA-18596325EECF}" srcOrd="2" destOrd="0" presId="urn:microsoft.com/office/officeart/2005/8/layout/hList1"/>
    <dgm:cxn modelId="{DF4E9BD4-58A5-449D-90AA-8F72A4FFB872}" type="presParOf" srcId="{FC382FAA-574E-4E24-A8CA-18596325EECF}" destId="{763147AF-1FF9-485A-9729-4A680B954A40}" srcOrd="0" destOrd="0" presId="urn:microsoft.com/office/officeart/2005/8/layout/hList1"/>
    <dgm:cxn modelId="{9A7D0896-C75C-4C74-AF21-54A543A6B596}" type="presParOf" srcId="{FC382FAA-574E-4E24-A8CA-18596325EECF}" destId="{BD48AE27-377F-404D-87E4-1FBB0CF4A686}" srcOrd="1" destOrd="0" presId="urn:microsoft.com/office/officeart/2005/8/layout/hList1"/>
    <dgm:cxn modelId="{419B4E19-BC62-441C-A8C4-B2513E06180A}" type="presParOf" srcId="{586E5153-0484-4F6F-BC44-C3BF5C929FDF}" destId="{B44909F6-07C4-46FB-B31C-5EF8E0EE82EA}" srcOrd="3" destOrd="0" presId="urn:microsoft.com/office/officeart/2005/8/layout/hList1"/>
    <dgm:cxn modelId="{9E59A2B2-B691-4FEB-BAE7-FD837798B016}" type="presParOf" srcId="{586E5153-0484-4F6F-BC44-C3BF5C929FDF}" destId="{BA9C574A-6F91-4B49-8F50-E2929848BE84}" srcOrd="4" destOrd="0" presId="urn:microsoft.com/office/officeart/2005/8/layout/hList1"/>
    <dgm:cxn modelId="{68EA1A1C-9BA2-4F34-8ED1-52B53D949A0D}" type="presParOf" srcId="{BA9C574A-6F91-4B49-8F50-E2929848BE84}" destId="{34B2FABE-8128-4E75-B0F4-F292E9EA6E19}" srcOrd="0" destOrd="0" presId="urn:microsoft.com/office/officeart/2005/8/layout/hList1"/>
    <dgm:cxn modelId="{11243C66-D2D8-4E9E-BDBC-E237C123DB0F}" type="presParOf" srcId="{BA9C574A-6F91-4B49-8F50-E2929848BE84}" destId="{BB2779C5-2B1E-4DDB-AC32-7413C221669E}" srcOrd="1" destOrd="0" presId="urn:microsoft.com/office/officeart/2005/8/layout/hList1"/>
    <dgm:cxn modelId="{F70B092E-7B4F-4028-9432-A93837B706BD}" type="presParOf" srcId="{586E5153-0484-4F6F-BC44-C3BF5C929FDF}" destId="{2AA6173B-C9C6-493E-91F8-7189213CA1B1}" srcOrd="5" destOrd="0" presId="urn:microsoft.com/office/officeart/2005/8/layout/hList1"/>
    <dgm:cxn modelId="{66E1B0DC-E4BC-4141-8AEB-7C7E12355346}" type="presParOf" srcId="{586E5153-0484-4F6F-BC44-C3BF5C929FDF}" destId="{821CEA09-272C-42E2-9C17-CAB01C0B06C7}" srcOrd="6" destOrd="0" presId="urn:microsoft.com/office/officeart/2005/8/layout/hList1"/>
    <dgm:cxn modelId="{D08A84AF-3677-461F-8C6A-7CA72072D0EA}" type="presParOf" srcId="{821CEA09-272C-42E2-9C17-CAB01C0B06C7}" destId="{6B9C340A-4C2D-4897-B4C9-C697ACEFEFF6}" srcOrd="0" destOrd="0" presId="urn:microsoft.com/office/officeart/2005/8/layout/hList1"/>
    <dgm:cxn modelId="{70E3C2D1-12E0-4DE3-B038-E9EE7EC65112}" type="presParOf" srcId="{821CEA09-272C-42E2-9C17-CAB01C0B06C7}" destId="{FF30CCCE-2AE3-4D84-8D37-03DD4AB1927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990606" y="2878"/>
          <a:ext cx="4373549" cy="21074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is an on-disk structure associated with a table that speeds retrieval of rows.</a:t>
          </a:r>
          <a:endParaRPr lang="en-US" sz="3000" kern="1200" dirty="0"/>
        </a:p>
      </dsp:txBody>
      <dsp:txXfrm>
        <a:off x="990606" y="2878"/>
        <a:ext cx="4373549" cy="2107497"/>
      </dsp:txXfrm>
    </dsp:sp>
    <dsp:sp modelId="{1D82B2A2-337A-42B0-996F-DE3C71434FA6}">
      <dsp:nvSpPr>
        <dsp:cNvPr id="0" name=""/>
        <dsp:cNvSpPr/>
      </dsp:nvSpPr>
      <dsp:spPr>
        <a:xfrm>
          <a:off x="990606" y="2461625"/>
          <a:ext cx="4373549" cy="2107497"/>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contains keys built from one or more columns in the table.</a:t>
          </a:r>
          <a:endParaRPr lang="en-US" sz="3000" kern="1200" dirty="0"/>
        </a:p>
      </dsp:txBody>
      <dsp:txXfrm>
        <a:off x="990606" y="2461625"/>
        <a:ext cx="4373549" cy="21074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BFC81-22E8-45D4-901A-23C691F6DEB9}">
      <dsp:nvSpPr>
        <dsp:cNvPr id="0" name=""/>
        <dsp:cNvSpPr/>
      </dsp:nvSpPr>
      <dsp:spPr>
        <a:xfrm>
          <a:off x="53" y="46424"/>
          <a:ext cx="5084401" cy="1872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requently, clustering on the primary key supports the clustered index best practices </a:t>
          </a:r>
          <a:endParaRPr lang="en-US" sz="2400" kern="1200" dirty="0"/>
        </a:p>
      </dsp:txBody>
      <dsp:txXfrm>
        <a:off x="53" y="46424"/>
        <a:ext cx="5084401" cy="1872000"/>
      </dsp:txXfrm>
    </dsp:sp>
    <dsp:sp modelId="{6AF58ACC-1A49-4713-A8CF-20B66EAA09E8}">
      <dsp:nvSpPr>
        <dsp:cNvPr id="0" name=""/>
        <dsp:cNvSpPr/>
      </dsp:nvSpPr>
      <dsp:spPr>
        <a:xfrm>
          <a:off x="53" y="1918424"/>
          <a:ext cx="5084401"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Query predicate use Primary Key</a:t>
          </a:r>
        </a:p>
        <a:p>
          <a:pPr marL="228600" lvl="1" indent="-228600" algn="l" defTabSz="889000">
            <a:lnSpc>
              <a:spcPct val="90000"/>
            </a:lnSpc>
            <a:spcBef>
              <a:spcPct val="0"/>
            </a:spcBef>
            <a:spcAft>
              <a:spcPct val="15000"/>
            </a:spcAft>
            <a:buChar char="•"/>
          </a:pPr>
          <a:r>
            <a:rPr lang="en-US" sz="2000" kern="1200" baseline="0" dirty="0"/>
            <a:t>Primary keys are involved in joins to foreign keys</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unique</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ascending</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not updated</a:t>
          </a:r>
          <a:endParaRPr lang="en-US" sz="2000" kern="1200" dirty="0"/>
        </a:p>
      </dsp:txBody>
      <dsp:txXfrm>
        <a:off x="53" y="1918424"/>
        <a:ext cx="5084401" cy="2854800"/>
      </dsp:txXfrm>
    </dsp:sp>
    <dsp:sp modelId="{C2D0EB96-AF50-4A35-A3DE-D8C7A53C0B87}">
      <dsp:nvSpPr>
        <dsp:cNvPr id="0" name=""/>
        <dsp:cNvSpPr/>
      </dsp:nvSpPr>
      <dsp:spPr>
        <a:xfrm>
          <a:off x="5796270" y="46424"/>
          <a:ext cx="5084401" cy="1872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o not cluster on the Primary key IF:</a:t>
          </a:r>
          <a:endParaRPr lang="en-US" sz="2400" kern="1200" dirty="0"/>
        </a:p>
      </dsp:txBody>
      <dsp:txXfrm>
        <a:off x="5796270" y="46424"/>
        <a:ext cx="5084401" cy="1872000"/>
      </dsp:txXfrm>
    </dsp:sp>
    <dsp:sp modelId="{EC2D2716-7AE0-4C46-9709-86BA3F5024B8}">
      <dsp:nvSpPr>
        <dsp:cNvPr id="0" name=""/>
        <dsp:cNvSpPr/>
      </dsp:nvSpPr>
      <dsp:spPr>
        <a:xfrm>
          <a:off x="5796270" y="1918424"/>
          <a:ext cx="5084401" cy="28548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When table is accessed by other keys than the primary key</a:t>
          </a:r>
          <a:endParaRPr lang="en-US" sz="2000" kern="1200" dirty="0"/>
        </a:p>
        <a:p>
          <a:pPr marL="228600" lvl="1" indent="-228600" algn="l" defTabSz="889000">
            <a:lnSpc>
              <a:spcPct val="90000"/>
            </a:lnSpc>
            <a:spcBef>
              <a:spcPct val="0"/>
            </a:spcBef>
            <a:spcAft>
              <a:spcPct val="15000"/>
            </a:spcAft>
            <a:buChar char="•"/>
          </a:pPr>
          <a:r>
            <a:rPr lang="en-US" sz="2000" kern="1200" dirty="0"/>
            <a:t>Common issue accessing association or child table, when these tables require different primary key than parent table</a:t>
          </a:r>
        </a:p>
        <a:p>
          <a:pPr marL="228600" lvl="1" indent="-228600" algn="l" defTabSz="889000">
            <a:lnSpc>
              <a:spcPct val="90000"/>
            </a:lnSpc>
            <a:spcBef>
              <a:spcPct val="0"/>
            </a:spcBef>
            <a:spcAft>
              <a:spcPct val="15000"/>
            </a:spcAft>
            <a:buChar char="•"/>
          </a:pPr>
          <a:r>
            <a:rPr lang="en-US" sz="2000" kern="1200" baseline="0"/>
            <a:t>Use sys.dm_db_index_usage_stats to review data access patterns of index</a:t>
          </a:r>
          <a:endParaRPr lang="en-US" sz="2000" kern="1200" dirty="0"/>
        </a:p>
      </dsp:txBody>
      <dsp:txXfrm>
        <a:off x="5796270" y="1918424"/>
        <a:ext cx="5084401" cy="28548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58023E-5379-4E43-8D5C-BDFB7061ED99}">
      <dsp:nvSpPr>
        <dsp:cNvPr id="0" name=""/>
        <dsp:cNvSpPr/>
      </dsp:nvSpPr>
      <dsp:spPr>
        <a:xfrm>
          <a:off x="0" y="496529"/>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Index columns used in WHERE clauses and JOINs.</a:t>
          </a:r>
          <a:endParaRPr lang="en-US" sz="2400" kern="1200"/>
        </a:p>
      </dsp:txBody>
      <dsp:txXfrm>
        <a:off x="0" y="496529"/>
        <a:ext cx="3400226" cy="2040136"/>
      </dsp:txXfrm>
    </dsp:sp>
    <dsp:sp modelId="{C74C92D6-8014-4E1D-9165-76DF4C5E6A84}">
      <dsp:nvSpPr>
        <dsp:cNvPr id="0" name=""/>
        <dsp:cNvSpPr/>
      </dsp:nvSpPr>
      <dsp:spPr>
        <a:xfrm>
          <a:off x="3740249" y="496529"/>
          <a:ext cx="3400226" cy="2040136"/>
        </a:xfrm>
        <a:prstGeom prst="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 indexes to a minimum, to minimize impact on DML and log writes.</a:t>
          </a:r>
          <a:endParaRPr lang="en-US" sz="2400" kern="1200" dirty="0"/>
        </a:p>
      </dsp:txBody>
      <dsp:txXfrm>
        <a:off x="3740249" y="496529"/>
        <a:ext cx="3400226" cy="2040136"/>
      </dsp:txXfrm>
    </dsp:sp>
    <dsp:sp modelId="{66311983-4D89-46B6-8ACF-DE2D1AA6A44E}">
      <dsp:nvSpPr>
        <dsp:cNvPr id="0" name=""/>
        <dsp:cNvSpPr/>
      </dsp:nvSpPr>
      <dsp:spPr>
        <a:xfrm>
          <a:off x="7480499" y="496529"/>
          <a:ext cx="3400226" cy="2040136"/>
        </a:xfrm>
        <a:prstGeom prst="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wo basic approaches: Single column indexes or Multicolumn indexes</a:t>
          </a:r>
          <a:endParaRPr lang="en-US" sz="2400" kern="1200" dirty="0"/>
        </a:p>
      </dsp:txBody>
      <dsp:txXfrm>
        <a:off x="7480499" y="496529"/>
        <a:ext cx="3400226" cy="2040136"/>
      </dsp:txXfrm>
    </dsp:sp>
    <dsp:sp modelId="{75123E70-C1E2-4C1F-8147-91166157351C}">
      <dsp:nvSpPr>
        <dsp:cNvPr id="0" name=""/>
        <dsp:cNvSpPr/>
      </dsp:nvSpPr>
      <dsp:spPr>
        <a:xfrm>
          <a:off x="0" y="2876687"/>
          <a:ext cx="3400226" cy="2040136"/>
        </a:xfrm>
        <a:prstGeom prst="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asy to create too many nonclustered indexes.</a:t>
          </a:r>
          <a:endParaRPr lang="en-US" sz="2400" kern="1200" dirty="0"/>
        </a:p>
      </dsp:txBody>
      <dsp:txXfrm>
        <a:off x="0" y="2876687"/>
        <a:ext cx="3400226" cy="2040136"/>
      </dsp:txXfrm>
    </dsp:sp>
    <dsp:sp modelId="{1F149603-872A-4E7C-8F99-341873593DB3}">
      <dsp:nvSpPr>
        <dsp:cNvPr id="0" name=""/>
        <dsp:cNvSpPr/>
      </dsp:nvSpPr>
      <dsp:spPr>
        <a:xfrm>
          <a:off x="3740249" y="2876687"/>
          <a:ext cx="3400226" cy="2040136"/>
        </a:xfrm>
        <a:prstGeom prst="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pecific indexes are appropriate for high-impact queries.</a:t>
          </a:r>
          <a:endParaRPr lang="en-US" sz="2400" kern="1200" dirty="0"/>
        </a:p>
      </dsp:txBody>
      <dsp:txXfrm>
        <a:off x="3740249" y="2876687"/>
        <a:ext cx="3400226" cy="2040136"/>
      </dsp:txXfrm>
    </dsp:sp>
    <dsp:sp modelId="{7D5CE624-757B-40F4-8159-0B7EE5A0DE93}">
      <dsp:nvSpPr>
        <dsp:cNvPr id="0" name=""/>
        <dsp:cNvSpPr/>
      </dsp:nvSpPr>
      <dsp:spPr>
        <a:xfrm>
          <a:off x="7480499" y="2876687"/>
          <a:ext cx="3400226" cy="2040136"/>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ally the focus should be writing queries to use existing indexes, rather than on adding more indexes.</a:t>
          </a:r>
          <a:endParaRPr lang="en-US" sz="2400" kern="1200" dirty="0"/>
        </a:p>
      </dsp:txBody>
      <dsp:txXfrm>
        <a:off x="7480499" y="2876687"/>
        <a:ext cx="3400226" cy="204013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CA8411-A856-4535-A9DB-19352547C6DA}">
      <dsp:nvSpPr>
        <dsp:cNvPr id="0" name=""/>
        <dsp:cNvSpPr/>
      </dsp:nvSpPr>
      <dsp:spPr>
        <a:xfrm>
          <a:off x="0" y="108007"/>
          <a:ext cx="5284787" cy="14215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okup effectively join the nonclustered index back to the clustered index or heap. </a:t>
          </a:r>
          <a:endParaRPr lang="en-US" sz="2400" kern="1200" dirty="0"/>
        </a:p>
      </dsp:txBody>
      <dsp:txXfrm>
        <a:off x="69394" y="177401"/>
        <a:ext cx="5145999" cy="1282762"/>
      </dsp:txXfrm>
    </dsp:sp>
    <dsp:sp modelId="{8BBA09E5-FE57-4951-B99F-2BDF89EC6551}">
      <dsp:nvSpPr>
        <dsp:cNvPr id="0" name=""/>
        <dsp:cNvSpPr/>
      </dsp:nvSpPr>
      <dsp:spPr>
        <a:xfrm>
          <a:off x="0" y="1529557"/>
          <a:ext cx="5284787" cy="176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If table has clustered index, it is called </a:t>
          </a:r>
          <a:r>
            <a:rPr lang="en-US" sz="2100" b="1" kern="1200" baseline="0" dirty="0"/>
            <a:t>bookmark lookup</a:t>
          </a:r>
          <a:r>
            <a:rPr lang="en-US" sz="2100" kern="1200" baseline="0" dirty="0"/>
            <a:t> (or key lookup)</a:t>
          </a:r>
          <a:endParaRPr lang="en-US" sz="2100" kern="1200" dirty="0"/>
        </a:p>
        <a:p>
          <a:pPr marL="228600" lvl="1" indent="-228600" algn="l" defTabSz="933450">
            <a:lnSpc>
              <a:spcPct val="90000"/>
            </a:lnSpc>
            <a:spcBef>
              <a:spcPct val="0"/>
            </a:spcBef>
            <a:spcAft>
              <a:spcPct val="20000"/>
            </a:spcAft>
            <a:buChar char="•"/>
          </a:pPr>
          <a:r>
            <a:rPr lang="en-US" sz="2100" kern="1200" baseline="0" dirty="0"/>
            <a:t>If the table is a heap with a non-clustered index, it is called </a:t>
          </a:r>
          <a:r>
            <a:rPr lang="en-US" sz="2100" b="1" kern="1200" baseline="0" dirty="0"/>
            <a:t>RID lookup</a:t>
          </a:r>
          <a:endParaRPr lang="en-US" sz="2100" kern="1200" dirty="0"/>
        </a:p>
      </dsp:txBody>
      <dsp:txXfrm>
        <a:off x="0" y="1529557"/>
        <a:ext cx="5284787" cy="1760535"/>
      </dsp:txXfrm>
    </dsp:sp>
    <dsp:sp modelId="{1E056329-3A95-46B0-90C8-2B1FD0228165}">
      <dsp:nvSpPr>
        <dsp:cNvPr id="0" name=""/>
        <dsp:cNvSpPr/>
      </dsp:nvSpPr>
      <dsp:spPr>
        <a:xfrm>
          <a:off x="0" y="3290092"/>
          <a:ext cx="5284787" cy="142155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is is an expensive operation.</a:t>
          </a:r>
          <a:endParaRPr lang="en-US" sz="2400" kern="1200"/>
        </a:p>
      </dsp:txBody>
      <dsp:txXfrm>
        <a:off x="69394" y="3359486"/>
        <a:ext cx="5145999" cy="128276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3BB9FA-3BE2-434C-99E8-DDC76578CD48}">
      <dsp:nvSpPr>
        <dsp:cNvPr id="0" name=""/>
        <dsp:cNvSpPr/>
      </dsp:nvSpPr>
      <dsp:spPr>
        <a:xfrm>
          <a:off x="53" y="13845"/>
          <a:ext cx="5084401" cy="1036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ingle-column Indexing</a:t>
          </a:r>
          <a:endParaRPr lang="en-US" sz="2400" kern="1200" dirty="0"/>
        </a:p>
      </dsp:txBody>
      <dsp:txXfrm>
        <a:off x="53" y="13845"/>
        <a:ext cx="5084401" cy="1036800"/>
      </dsp:txXfrm>
    </dsp:sp>
    <dsp:sp modelId="{FE2C7C66-CDAF-4895-9759-8C87FBBD1B44}">
      <dsp:nvSpPr>
        <dsp:cNvPr id="0" name=""/>
        <dsp:cNvSpPr/>
      </dsp:nvSpPr>
      <dsp:spPr>
        <a:xfrm>
          <a:off x="53" y="1050645"/>
          <a:ext cx="5084401" cy="375515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Good choice for columns that are highly selective, or columns referenced often by criteria.</a:t>
          </a:r>
          <a:endParaRPr lang="en-US" sz="2400" kern="1200" dirty="0"/>
        </a:p>
        <a:p>
          <a:pPr marL="228600" lvl="1" indent="-228600" algn="l" defTabSz="1066800">
            <a:lnSpc>
              <a:spcPct val="90000"/>
            </a:lnSpc>
            <a:spcBef>
              <a:spcPct val="0"/>
            </a:spcBef>
            <a:spcAft>
              <a:spcPct val="15000"/>
            </a:spcAft>
            <a:buChar char="•"/>
          </a:pPr>
          <a:r>
            <a:rPr lang="en-US" sz="2400" kern="1200" dirty="0"/>
            <a:t>When filtering data from table with multiple single column indexes, SQL uses the index with higher cardinality column</a:t>
          </a:r>
          <a:r>
            <a:rPr lang="en-US" sz="2400" kern="1200" baseline="0" dirty="0"/>
            <a:t>, it may be better to not index the low cardinality column.</a:t>
          </a:r>
          <a:endParaRPr lang="en-US" sz="2400" kern="1200" dirty="0"/>
        </a:p>
      </dsp:txBody>
      <dsp:txXfrm>
        <a:off x="53" y="1050645"/>
        <a:ext cx="5084401" cy="3755159"/>
      </dsp:txXfrm>
    </dsp:sp>
    <dsp:sp modelId="{C6F2A52F-A18E-4511-AF8C-7363517072EA}">
      <dsp:nvSpPr>
        <dsp:cNvPr id="0" name=""/>
        <dsp:cNvSpPr/>
      </dsp:nvSpPr>
      <dsp:spPr>
        <a:xfrm>
          <a:off x="5796270" y="13845"/>
          <a:ext cx="5084401" cy="10368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ulti-Column Indexing</a:t>
          </a:r>
          <a:endParaRPr lang="en-US" sz="2400" kern="1200" dirty="0"/>
        </a:p>
      </dsp:txBody>
      <dsp:txXfrm>
        <a:off x="5796270" y="13845"/>
        <a:ext cx="5084401" cy="1036800"/>
      </dsp:txXfrm>
    </dsp:sp>
    <dsp:sp modelId="{0E5986F9-200B-4045-9FD8-97D9D189DAE5}">
      <dsp:nvSpPr>
        <dsp:cNvPr id="0" name=""/>
        <dsp:cNvSpPr/>
      </dsp:nvSpPr>
      <dsp:spPr>
        <a:xfrm>
          <a:off x="5796270" y="1050645"/>
          <a:ext cx="5084401" cy="3755159"/>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Good choice for low cardinality columns.</a:t>
          </a:r>
          <a:endParaRPr lang="en-US" sz="2400" kern="1200"/>
        </a:p>
        <a:p>
          <a:pPr marL="228600" lvl="1" indent="-228600" algn="l" defTabSz="1066800">
            <a:lnSpc>
              <a:spcPct val="90000"/>
            </a:lnSpc>
            <a:spcBef>
              <a:spcPct val="0"/>
            </a:spcBef>
            <a:spcAft>
              <a:spcPct val="15000"/>
            </a:spcAft>
            <a:buChar char="•"/>
          </a:pPr>
          <a:r>
            <a:rPr lang="en-US" sz="2400" kern="1200" baseline="0"/>
            <a:t>Highest cardinality field first, to zoom into a narrow range of the B-Tree as quickly as possible.</a:t>
          </a:r>
          <a:endParaRPr lang="en-US" sz="2400" kern="1200"/>
        </a:p>
        <a:p>
          <a:pPr marL="228600" lvl="1" indent="-228600" algn="l" defTabSz="1066800">
            <a:lnSpc>
              <a:spcPct val="90000"/>
            </a:lnSpc>
            <a:spcBef>
              <a:spcPct val="0"/>
            </a:spcBef>
            <a:spcAft>
              <a:spcPct val="15000"/>
            </a:spcAft>
            <a:buChar char="•"/>
          </a:pPr>
          <a:r>
            <a:rPr lang="en-US" sz="2400" kern="1200" baseline="0"/>
            <a:t>Equality columns before inequality columns.</a:t>
          </a:r>
          <a:endParaRPr lang="en-US" sz="2400" kern="1200"/>
        </a:p>
      </dsp:txBody>
      <dsp:txXfrm>
        <a:off x="5796270" y="1050645"/>
        <a:ext cx="5084401" cy="375515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8AA3-6FA0-4755-AA6E-C5BC8AE4F574}">
      <dsp:nvSpPr>
        <dsp:cNvPr id="0" name=""/>
        <dsp:cNvSpPr/>
      </dsp:nvSpPr>
      <dsp:spPr>
        <a:xfrm>
          <a:off x="2356140" y="2333"/>
          <a:ext cx="8519955" cy="2261564"/>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None/>
          </a:pPr>
          <a:endParaRPr lang="en-US" sz="2100" kern="1200" dirty="0"/>
        </a:p>
        <a:p>
          <a:pPr marL="228600" lvl="1" indent="-228600" algn="l" defTabSz="933450">
            <a:lnSpc>
              <a:spcPct val="90000"/>
            </a:lnSpc>
            <a:spcBef>
              <a:spcPct val="0"/>
            </a:spcBef>
            <a:spcAft>
              <a:spcPct val="15000"/>
            </a:spcAft>
            <a:buNone/>
          </a:pPr>
          <a:r>
            <a:rPr lang="en-US" sz="2100" kern="1200" dirty="0"/>
            <a:t> </a:t>
          </a:r>
          <a:r>
            <a:rPr lang="en-US" sz="2100" kern="1200" baseline="0" dirty="0"/>
            <a:t> </a:t>
          </a:r>
          <a:endParaRPr lang="en-US" sz="2100" kern="1200" dirty="0"/>
        </a:p>
        <a:p>
          <a:pPr marL="228600" lvl="1" indent="-228600" algn="l" defTabSz="933450">
            <a:lnSpc>
              <a:spcPct val="90000"/>
            </a:lnSpc>
            <a:spcBef>
              <a:spcPct val="0"/>
            </a:spcBef>
            <a:spcAft>
              <a:spcPct val="15000"/>
            </a:spcAft>
            <a:buNone/>
          </a:pPr>
          <a:r>
            <a:rPr lang="en-US" sz="2100" kern="1200" baseline="0" dirty="0"/>
            <a:t>	CREATE INDEX IX1 ON TABLE (PostalCode, StateID, City)</a:t>
          </a:r>
          <a:endParaRPr lang="en-US" sz="2100" kern="1200" dirty="0"/>
        </a:p>
      </dsp:txBody>
      <dsp:txXfrm>
        <a:off x="2356140" y="285029"/>
        <a:ext cx="7671869" cy="1696173"/>
      </dsp:txXfrm>
    </dsp:sp>
    <dsp:sp modelId="{4ABF60CD-2ECA-4851-82A4-094AB17608A3}">
      <dsp:nvSpPr>
        <dsp:cNvPr id="0" name=""/>
        <dsp:cNvSpPr/>
      </dsp:nvSpPr>
      <dsp:spPr>
        <a:xfrm>
          <a:off x="0" y="2333"/>
          <a:ext cx="2351510" cy="226156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eek only happens if you search for the columns in the specified order.</a:t>
          </a:r>
          <a:endParaRPr lang="en-US" sz="2000" kern="1200" dirty="0"/>
        </a:p>
      </dsp:txBody>
      <dsp:txXfrm>
        <a:off x="110400" y="112733"/>
        <a:ext cx="2130710" cy="2040764"/>
      </dsp:txXfrm>
    </dsp:sp>
    <dsp:sp modelId="{6155D189-BFBB-4B9F-8D31-913BF9BA760D}">
      <dsp:nvSpPr>
        <dsp:cNvPr id="0" name=""/>
        <dsp:cNvSpPr/>
      </dsp:nvSpPr>
      <dsp:spPr>
        <a:xfrm>
          <a:off x="2365169" y="2490053"/>
          <a:ext cx="8515176" cy="2327262"/>
        </a:xfrm>
        <a:prstGeom prst="rightArrow">
          <a:avLst>
            <a:gd name="adj1" fmla="val 75000"/>
            <a:gd name="adj2" fmla="val 5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Char char="•"/>
          </a:pPr>
          <a:r>
            <a:rPr lang="en-US" sz="2100" kern="1200" baseline="0" dirty="0"/>
            <a:t>WHERE PostalCode = 98011 – seek</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AND StateID = 79 – seek both</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 seek AND City = Bothell -- scan</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StateID = 79 -- scan</a:t>
          </a:r>
          <a:endParaRPr lang="en-US" sz="2100" kern="1200" dirty="0"/>
        </a:p>
      </dsp:txBody>
      <dsp:txXfrm>
        <a:off x="2365169" y="2780961"/>
        <a:ext cx="7642453" cy="1745446"/>
      </dsp:txXfrm>
    </dsp:sp>
    <dsp:sp modelId="{2F27A988-C430-4343-AFC6-121B747947E2}">
      <dsp:nvSpPr>
        <dsp:cNvPr id="0" name=""/>
        <dsp:cNvSpPr/>
      </dsp:nvSpPr>
      <dsp:spPr>
        <a:xfrm>
          <a:off x="0" y="2471113"/>
          <a:ext cx="2364790" cy="2261564"/>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ffect of column in different WHERE clause.</a:t>
          </a:r>
          <a:endParaRPr lang="en-US" sz="2000" kern="1200" dirty="0"/>
        </a:p>
      </dsp:txBody>
      <dsp:txXfrm>
        <a:off x="110400" y="2581513"/>
        <a:ext cx="2143990" cy="204076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AAEC8F-362E-4E88-B477-7BC9B158535F}">
      <dsp:nvSpPr>
        <dsp:cNvPr id="0" name=""/>
        <dsp:cNvSpPr/>
      </dsp:nvSpPr>
      <dsp:spPr>
        <a:xfrm>
          <a:off x="0" y="30615"/>
          <a:ext cx="10678798" cy="898560"/>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Point where the number of rows returned is no longer selective enough to justify the I/O being done.</a:t>
          </a:r>
          <a:endParaRPr lang="en-US" sz="1800" kern="1200" dirty="0"/>
        </a:p>
      </dsp:txBody>
      <dsp:txXfrm>
        <a:off x="43864" y="74479"/>
        <a:ext cx="10591070" cy="810832"/>
      </dsp:txXfrm>
    </dsp:sp>
    <dsp:sp modelId="{1680353D-15EC-4257-9BCD-CE0DA12164EF}">
      <dsp:nvSpPr>
        <dsp:cNvPr id="0" name=""/>
        <dsp:cNvSpPr/>
      </dsp:nvSpPr>
      <dsp:spPr>
        <a:xfrm>
          <a:off x="0" y="1067415"/>
          <a:ext cx="10678798" cy="898560"/>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baseline="0" dirty="0"/>
            <a:t>SQL Server chooses to convert what could be a SEEK + LOOKUP into a SCAN.</a:t>
          </a:r>
          <a:endParaRPr lang="en-US" sz="1800" kern="1200" dirty="0"/>
        </a:p>
      </dsp:txBody>
      <dsp:txXfrm>
        <a:off x="43864" y="1111279"/>
        <a:ext cx="10591070" cy="810832"/>
      </dsp:txXfrm>
    </dsp:sp>
    <dsp:sp modelId="{739B4666-29F1-4451-B2FD-C161A27C9C66}">
      <dsp:nvSpPr>
        <dsp:cNvPr id="0" name=""/>
        <dsp:cNvSpPr/>
      </dsp:nvSpPr>
      <dsp:spPr>
        <a:xfrm>
          <a:off x="0" y="2104215"/>
          <a:ext cx="10678798" cy="898560"/>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The “tipping point” is between 1/4 and 1/3 of the number of row relative to the number of total pages.</a:t>
          </a:r>
        </a:p>
      </dsp:txBody>
      <dsp:txXfrm>
        <a:off x="43864" y="2148079"/>
        <a:ext cx="10591070" cy="810832"/>
      </dsp:txXfrm>
    </dsp:sp>
    <dsp:sp modelId="{236D7755-058C-429D-803F-69584E0158BB}">
      <dsp:nvSpPr>
        <dsp:cNvPr id="0" name=""/>
        <dsp:cNvSpPr/>
      </dsp:nvSpPr>
      <dsp:spPr>
        <a:xfrm>
          <a:off x="0" y="3141015"/>
          <a:ext cx="10678798" cy="898560"/>
        </a:xfrm>
        <a:prstGeom prst="roundRect">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age Density (Row per page) does have an impact on the “tipping point”</a:t>
          </a:r>
        </a:p>
      </dsp:txBody>
      <dsp:txXfrm>
        <a:off x="43864" y="3184879"/>
        <a:ext cx="10591070" cy="81083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2B1F8-B029-4B99-91A8-CE1E383A2315}">
      <dsp:nvSpPr>
        <dsp:cNvPr id="0" name=""/>
        <dsp:cNvSpPr/>
      </dsp:nvSpPr>
      <dsp:spPr>
        <a:xfrm>
          <a:off x="0" y="34951"/>
          <a:ext cx="10880726" cy="1029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 access and distribution changes over time.</a:t>
          </a:r>
          <a:endParaRPr lang="en-US" sz="2400" kern="1200"/>
        </a:p>
      </dsp:txBody>
      <dsp:txXfrm>
        <a:off x="50261" y="85212"/>
        <a:ext cx="10780204" cy="929078"/>
      </dsp:txXfrm>
    </dsp:sp>
    <dsp:sp modelId="{E6D86303-23A1-4B21-B6BC-134290A7CEFD}">
      <dsp:nvSpPr>
        <dsp:cNvPr id="0" name=""/>
        <dsp:cNvSpPr/>
      </dsp:nvSpPr>
      <dsp:spPr>
        <a:xfrm>
          <a:off x="0" y="1222951"/>
          <a:ext cx="10880726" cy="1029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reviewing index usage, we can ensure that the indexes are appropriate for the current workload.</a:t>
          </a:r>
          <a:endParaRPr lang="en-US" sz="2400" kern="1200" dirty="0"/>
        </a:p>
      </dsp:txBody>
      <dsp:txXfrm>
        <a:off x="50261" y="1273212"/>
        <a:ext cx="10780204" cy="929078"/>
      </dsp:txXfrm>
    </dsp:sp>
    <dsp:sp modelId="{26E70C0C-F5FD-49C3-8713-CCF302D4DD1F}">
      <dsp:nvSpPr>
        <dsp:cNvPr id="0" name=""/>
        <dsp:cNvSpPr/>
      </dsp:nvSpPr>
      <dsp:spPr>
        <a:xfrm>
          <a:off x="0" y="2410951"/>
          <a:ext cx="10880726" cy="10296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sp:txBody>
      <dsp:txXfrm>
        <a:off x="50261" y="2461212"/>
        <a:ext cx="10780204" cy="929078"/>
      </dsp:txXfrm>
    </dsp:sp>
    <dsp:sp modelId="{BED7B686-B782-45EF-9B4E-6B0A8CF64E7E}">
      <dsp:nvSpPr>
        <dsp:cNvPr id="0" name=""/>
        <dsp:cNvSpPr/>
      </dsp:nvSpPr>
      <dsp:spPr>
        <a:xfrm>
          <a:off x="0" y="3598951"/>
          <a:ext cx="10880726" cy="10296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base standard report also monitors Index usage and Physical Statistics. </a:t>
          </a:r>
          <a:endParaRPr lang="en-US" sz="2400" kern="1200"/>
        </a:p>
      </dsp:txBody>
      <dsp:txXfrm>
        <a:off x="50261" y="3649212"/>
        <a:ext cx="10780204" cy="92907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E8D5E-8383-4E44-9DEE-A46E2F6F411D}">
      <dsp:nvSpPr>
        <dsp:cNvPr id="0" name=""/>
        <dsp:cNvSpPr/>
      </dsp:nvSpPr>
      <dsp:spPr>
        <a:xfrm>
          <a:off x="0" y="176069"/>
          <a:ext cx="10880726" cy="6949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SSMS -&gt; Index Physical Statistics report </a:t>
          </a:r>
          <a:endParaRPr lang="en-US" sz="2700" kern="1200"/>
        </a:p>
      </dsp:txBody>
      <dsp:txXfrm>
        <a:off x="33926" y="209995"/>
        <a:ext cx="10812874" cy="627128"/>
      </dsp:txXfrm>
    </dsp:sp>
    <dsp:sp modelId="{3C3A9C73-13F5-4745-B924-AC072078D9C3}">
      <dsp:nvSpPr>
        <dsp:cNvPr id="0" name=""/>
        <dsp:cNvSpPr/>
      </dsp:nvSpPr>
      <dsp:spPr>
        <a:xfrm>
          <a:off x="0" y="871049"/>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Will report fragmentation and recommend solution at database level</a:t>
          </a:r>
          <a:endParaRPr lang="en-US" sz="2100" kern="1200"/>
        </a:p>
      </dsp:txBody>
      <dsp:txXfrm>
        <a:off x="0" y="871049"/>
        <a:ext cx="10880726" cy="447120"/>
      </dsp:txXfrm>
    </dsp:sp>
    <dsp:sp modelId="{527B0900-1F74-4410-9055-BDF20697AA77}">
      <dsp:nvSpPr>
        <dsp:cNvPr id="0" name=""/>
        <dsp:cNvSpPr/>
      </dsp:nvSpPr>
      <dsp:spPr>
        <a:xfrm>
          <a:off x="0" y="1318169"/>
          <a:ext cx="10880726" cy="6949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ustom Solution</a:t>
          </a:r>
          <a:endParaRPr lang="en-US" sz="2700" kern="1200"/>
        </a:p>
      </dsp:txBody>
      <dsp:txXfrm>
        <a:off x="33926" y="1352095"/>
        <a:ext cx="10812874" cy="627128"/>
      </dsp:txXfrm>
    </dsp:sp>
    <dsp:sp modelId="{46565560-501A-4FBE-9891-99F6FDFD5FB7}">
      <dsp:nvSpPr>
        <dsp:cNvPr id="0" name=""/>
        <dsp:cNvSpPr/>
      </dsp:nvSpPr>
      <dsp:spPr>
        <a:xfrm>
          <a:off x="0" y="2013149"/>
          <a:ext cx="10880726" cy="782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Find fragmentation  using Sys.dm_db_index_physical_stats</a:t>
          </a:r>
          <a:endParaRPr lang="en-US" sz="2100" kern="1200"/>
        </a:p>
        <a:p>
          <a:pPr marL="228600" lvl="1" indent="-228600" algn="l" defTabSz="933450">
            <a:lnSpc>
              <a:spcPct val="90000"/>
            </a:lnSpc>
            <a:spcBef>
              <a:spcPct val="0"/>
            </a:spcBef>
            <a:spcAft>
              <a:spcPct val="20000"/>
            </a:spcAft>
            <a:buChar char="•"/>
          </a:pPr>
          <a:r>
            <a:rPr lang="en-US" sz="2100" kern="1200" baseline="0"/>
            <a:t>Correct fragmentation </a:t>
          </a:r>
          <a:endParaRPr lang="en-US" sz="2100" kern="1200"/>
        </a:p>
      </dsp:txBody>
      <dsp:txXfrm>
        <a:off x="0" y="2013149"/>
        <a:ext cx="10880726" cy="782460"/>
      </dsp:txXfrm>
    </dsp:sp>
    <dsp:sp modelId="{FEBA1E8B-15A8-4350-ACDB-E786E9AD7607}">
      <dsp:nvSpPr>
        <dsp:cNvPr id="0" name=""/>
        <dsp:cNvSpPr/>
      </dsp:nvSpPr>
      <dsp:spPr>
        <a:xfrm>
          <a:off x="0" y="2795609"/>
          <a:ext cx="10880726" cy="6949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Can remove Index fragmentation using Rebuild or Reorganize option</a:t>
          </a:r>
          <a:endParaRPr lang="en-US" sz="2700" kern="1200" dirty="0"/>
        </a:p>
      </dsp:txBody>
      <dsp:txXfrm>
        <a:off x="33926" y="2829535"/>
        <a:ext cx="10812874" cy="62712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DF2FDF-2315-4A7F-B321-05793ABBFEDC}">
      <dsp:nvSpPr>
        <dsp:cNvPr id="0" name=""/>
        <dsp:cNvSpPr/>
      </dsp:nvSpPr>
      <dsp:spPr>
        <a:xfrm>
          <a:off x="53" y="9762"/>
          <a:ext cx="5084401" cy="1094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Use When</a:t>
          </a:r>
          <a:endParaRPr lang="en-US" sz="2400" kern="1200" dirty="0"/>
        </a:p>
      </dsp:txBody>
      <dsp:txXfrm>
        <a:off x="53" y="9762"/>
        <a:ext cx="5084401" cy="1094400"/>
      </dsp:txXfrm>
    </dsp:sp>
    <dsp:sp modelId="{E1CD9CB1-F7ED-4DB5-899B-0BB904D6A666}">
      <dsp:nvSpPr>
        <dsp:cNvPr id="0" name=""/>
        <dsp:cNvSpPr/>
      </dsp:nvSpPr>
      <dsp:spPr>
        <a:xfrm>
          <a:off x="53" y="1104163"/>
          <a:ext cx="5084401" cy="16689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Specifying the amount of free space on a data or index page.</a:t>
          </a:r>
          <a:endParaRPr lang="en-US" sz="2400" kern="1200" dirty="0"/>
        </a:p>
        <a:p>
          <a:pPr marL="228600" lvl="1" indent="-228600" algn="l" defTabSz="1066800">
            <a:lnSpc>
              <a:spcPct val="90000"/>
            </a:lnSpc>
            <a:spcBef>
              <a:spcPct val="0"/>
            </a:spcBef>
            <a:spcAft>
              <a:spcPct val="15000"/>
            </a:spcAft>
            <a:buChar char="•"/>
          </a:pPr>
          <a:r>
            <a:rPr lang="en-US" sz="2400" kern="1200" baseline="0"/>
            <a:t>Reducing logical fragmentation.</a:t>
          </a:r>
          <a:endParaRPr lang="en-US" sz="2400" kern="1200" dirty="0"/>
        </a:p>
      </dsp:txBody>
      <dsp:txXfrm>
        <a:off x="53" y="1104163"/>
        <a:ext cx="5084401" cy="1668960"/>
      </dsp:txXfrm>
    </dsp:sp>
    <dsp:sp modelId="{298A840C-4A90-4965-8317-4CE942FBD989}">
      <dsp:nvSpPr>
        <dsp:cNvPr id="0" name=""/>
        <dsp:cNvSpPr/>
      </dsp:nvSpPr>
      <dsp:spPr>
        <a:xfrm>
          <a:off x="5796271" y="9762"/>
          <a:ext cx="5084401" cy="1094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Do not use when</a:t>
          </a:r>
          <a:endParaRPr lang="en-US" sz="2400" kern="1200" dirty="0"/>
        </a:p>
      </dsp:txBody>
      <dsp:txXfrm>
        <a:off x="5796271" y="9762"/>
        <a:ext cx="5084401" cy="1094400"/>
      </dsp:txXfrm>
    </dsp:sp>
    <dsp:sp modelId="{44FA1635-E70E-4D37-83E3-3316FEE79DEE}">
      <dsp:nvSpPr>
        <dsp:cNvPr id="0" name=""/>
        <dsp:cNvSpPr/>
      </dsp:nvSpPr>
      <dsp:spPr>
        <a:xfrm>
          <a:off x="5796271" y="1104163"/>
          <a:ext cx="5084401" cy="166896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Low fragmentation </a:t>
          </a:r>
          <a:endParaRPr lang="en-US" sz="2400" kern="1200"/>
        </a:p>
        <a:p>
          <a:pPr marL="228600" lvl="1" indent="-228600" algn="l" defTabSz="1066800">
            <a:lnSpc>
              <a:spcPct val="90000"/>
            </a:lnSpc>
            <a:spcBef>
              <a:spcPct val="0"/>
            </a:spcBef>
            <a:spcAft>
              <a:spcPct val="15000"/>
            </a:spcAft>
            <a:buChar char="•"/>
          </a:pPr>
          <a:r>
            <a:rPr lang="en-US" sz="2400" kern="1200" baseline="0"/>
            <a:t>High seeks and low scans </a:t>
          </a:r>
          <a:endParaRPr lang="en-US" sz="2400" kern="1200"/>
        </a:p>
        <a:p>
          <a:pPr marL="228600" lvl="1" indent="-228600" algn="l" defTabSz="1066800">
            <a:lnSpc>
              <a:spcPct val="90000"/>
            </a:lnSpc>
            <a:spcBef>
              <a:spcPct val="0"/>
            </a:spcBef>
            <a:spcAft>
              <a:spcPct val="15000"/>
            </a:spcAft>
            <a:buChar char="•"/>
          </a:pPr>
          <a:r>
            <a:rPr lang="en-US" sz="2400" kern="1200" baseline="0"/>
            <a:t>Index is not scanned</a:t>
          </a:r>
          <a:endParaRPr lang="en-US" sz="2400" kern="1200"/>
        </a:p>
      </dsp:txBody>
      <dsp:txXfrm>
        <a:off x="5796271" y="1104163"/>
        <a:ext cx="5084401" cy="166896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739C7F-C83F-410F-9E68-E25ECBD8D6B9}">
      <dsp:nvSpPr>
        <dsp:cNvPr id="0" name=""/>
        <dsp:cNvSpPr/>
      </dsp:nvSpPr>
      <dsp:spPr>
        <a:xfrm>
          <a:off x="0" y="15242"/>
          <a:ext cx="10545762" cy="1008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Reducing Fragmentation</a:t>
          </a:r>
          <a:endParaRPr lang="en-US" sz="2400" kern="1200"/>
        </a:p>
      </dsp:txBody>
      <dsp:txXfrm>
        <a:off x="0" y="15242"/>
        <a:ext cx="10545762" cy="1008000"/>
      </dsp:txXfrm>
    </dsp:sp>
    <dsp:sp modelId="{3DD469B6-F40B-4C62-BAE0-FFAF84D05CDB}">
      <dsp:nvSpPr>
        <dsp:cNvPr id="0" name=""/>
        <dsp:cNvSpPr/>
      </dsp:nvSpPr>
      <dsp:spPr>
        <a:xfrm>
          <a:off x="0" y="1023242"/>
          <a:ext cx="10545762" cy="196953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ing an ascending key (not always possible).</a:t>
          </a:r>
          <a:endParaRPr lang="en-US" sz="2400" kern="1200"/>
        </a:p>
        <a:p>
          <a:pPr marL="228600" lvl="1" indent="-228600" algn="l" defTabSz="1066800">
            <a:lnSpc>
              <a:spcPct val="90000"/>
            </a:lnSpc>
            <a:spcBef>
              <a:spcPct val="0"/>
            </a:spcBef>
            <a:spcAft>
              <a:spcPct val="15000"/>
            </a:spcAft>
            <a:buChar char="•"/>
          </a:pPr>
          <a:r>
            <a:rPr lang="en-US" sz="2400" kern="1200" baseline="0" dirty="0"/>
            <a:t>Using an appropriate fill factor for the workload.</a:t>
          </a:r>
          <a:endParaRPr lang="en-US" sz="2400" kern="1200" dirty="0"/>
        </a:p>
        <a:p>
          <a:pPr marL="228600" lvl="1" indent="-228600" algn="l" defTabSz="1066800">
            <a:lnSpc>
              <a:spcPct val="90000"/>
            </a:lnSpc>
            <a:spcBef>
              <a:spcPct val="0"/>
            </a:spcBef>
            <a:spcAft>
              <a:spcPct val="15000"/>
            </a:spcAft>
            <a:buChar char="•"/>
          </a:pPr>
          <a:r>
            <a:rPr lang="en-US" sz="2400" kern="1200" baseline="0"/>
            <a:t>Update in sets, rather than one at a time.</a:t>
          </a:r>
          <a:endParaRPr lang="en-US" sz="2400" kern="1200"/>
        </a:p>
        <a:p>
          <a:pPr marL="228600" lvl="1" indent="-228600" algn="l" defTabSz="1066800">
            <a:lnSpc>
              <a:spcPct val="90000"/>
            </a:lnSpc>
            <a:spcBef>
              <a:spcPct val="0"/>
            </a:spcBef>
            <a:spcAft>
              <a:spcPct val="15000"/>
            </a:spcAft>
            <a:buChar char="•"/>
          </a:pPr>
          <a:r>
            <a:rPr lang="en-US" sz="2400" kern="1200" baseline="0"/>
            <a:t>Do not insert with immediate update.</a:t>
          </a:r>
          <a:endParaRPr lang="en-US" sz="2400" kern="1200"/>
        </a:p>
      </dsp:txBody>
      <dsp:txXfrm>
        <a:off x="0" y="1023242"/>
        <a:ext cx="10545762" cy="19695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1037744" y="0"/>
          <a:ext cx="4373549" cy="21074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A SARGable item in a search predicate is able to use an index.</a:t>
          </a:r>
          <a:endParaRPr lang="en-US" sz="3000" kern="1200" dirty="0"/>
        </a:p>
      </dsp:txBody>
      <dsp:txXfrm>
        <a:off x="1037744" y="0"/>
        <a:ext cx="4373549" cy="2107497"/>
      </dsp:txXfrm>
    </dsp:sp>
    <dsp:sp modelId="{1D82B2A2-337A-42B0-996F-DE3C71434FA6}">
      <dsp:nvSpPr>
        <dsp:cNvPr id="0" name=""/>
        <dsp:cNvSpPr/>
      </dsp:nvSpPr>
      <dsp:spPr>
        <a:xfrm>
          <a:off x="990606" y="2461625"/>
          <a:ext cx="4373549" cy="2107497"/>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Non-SARGable expressions can significantly slow down queries.</a:t>
          </a:r>
          <a:endParaRPr lang="en-US" sz="3000" kern="1200" dirty="0"/>
        </a:p>
      </dsp:txBody>
      <dsp:txXfrm>
        <a:off x="990606" y="2461625"/>
        <a:ext cx="4373549" cy="210749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2E747-80B4-428E-87B6-E9C0786D8DD2}">
      <dsp:nvSpPr>
        <dsp:cNvPr id="0" name=""/>
        <dsp:cNvSpPr/>
      </dsp:nvSpPr>
      <dsp:spPr>
        <a:xfrm>
          <a:off x="0" y="213891"/>
          <a:ext cx="10880726"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SQL Server identifies indexes that would help a query’s performance</a:t>
          </a:r>
          <a:endParaRPr lang="en-US" sz="2200" kern="1200" dirty="0"/>
        </a:p>
      </dsp:txBody>
      <dsp:txXfrm>
        <a:off x="27644" y="241535"/>
        <a:ext cx="10825438" cy="510992"/>
      </dsp:txXfrm>
    </dsp:sp>
    <dsp:sp modelId="{167455E2-0B5B-461E-A12B-4FA37292F744}">
      <dsp:nvSpPr>
        <dsp:cNvPr id="0" name=""/>
        <dsp:cNvSpPr/>
      </dsp:nvSpPr>
      <dsp:spPr>
        <a:xfrm>
          <a:off x="0" y="843531"/>
          <a:ext cx="10880726" cy="5662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recommendation is included in the query plan</a:t>
          </a:r>
          <a:endParaRPr lang="en-US" sz="2200" kern="1200"/>
        </a:p>
      </dsp:txBody>
      <dsp:txXfrm>
        <a:off x="27644" y="871175"/>
        <a:ext cx="10825438" cy="510992"/>
      </dsp:txXfrm>
    </dsp:sp>
    <dsp:sp modelId="{B0F7C242-ADFC-411C-ADF7-95479B00B896}">
      <dsp:nvSpPr>
        <dsp:cNvPr id="0" name=""/>
        <dsp:cNvSpPr/>
      </dsp:nvSpPr>
      <dsp:spPr>
        <a:xfrm>
          <a:off x="0" y="1462285"/>
          <a:ext cx="10880726" cy="5662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cost savings are aggregated in DMVs to help identify the most beneficial indexes</a:t>
          </a:r>
          <a:endParaRPr lang="en-US" sz="2200" kern="1200"/>
        </a:p>
      </dsp:txBody>
      <dsp:txXfrm>
        <a:off x="27644" y="1489929"/>
        <a:ext cx="10825438" cy="51099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72A51A-ECBF-4B78-84E5-BADD01830D77}">
      <dsp:nvSpPr>
        <dsp:cNvPr id="0" name=""/>
        <dsp:cNvSpPr/>
      </dsp:nvSpPr>
      <dsp:spPr>
        <a:xfrm>
          <a:off x="0" y="26026"/>
          <a:ext cx="6126162" cy="1584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llowing sources can help you choosing indexes</a:t>
          </a:r>
          <a:endParaRPr lang="en-US" sz="2400" kern="1200" dirty="0"/>
        </a:p>
      </dsp:txBody>
      <dsp:txXfrm>
        <a:off x="0" y="26026"/>
        <a:ext cx="6126162" cy="1584000"/>
      </dsp:txXfrm>
    </dsp:sp>
    <dsp:sp modelId="{60D474A3-90FA-49E3-B0D7-1F7FC6CEFF2A}">
      <dsp:nvSpPr>
        <dsp:cNvPr id="0" name=""/>
        <dsp:cNvSpPr/>
      </dsp:nvSpPr>
      <dsp:spPr>
        <a:xfrm>
          <a:off x="0" y="1537800"/>
          <a:ext cx="6126162" cy="241559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Missing Index recommendations</a:t>
          </a:r>
          <a:endParaRPr lang="en-US" sz="2400" kern="1200"/>
        </a:p>
        <a:p>
          <a:pPr marL="228600" lvl="1" indent="-228600" algn="l" defTabSz="1066800">
            <a:lnSpc>
              <a:spcPct val="90000"/>
            </a:lnSpc>
            <a:spcBef>
              <a:spcPct val="0"/>
            </a:spcBef>
            <a:spcAft>
              <a:spcPct val="15000"/>
            </a:spcAft>
            <a:buChar char="•"/>
          </a:pPr>
          <a:r>
            <a:rPr lang="en-US" sz="2400" kern="1200" baseline="0">
              <a:solidFill>
                <a:srgbClr val="107C10"/>
              </a:solidFill>
            </a:rPr>
            <a:t>sys.dm_db_index_usage_stats</a:t>
          </a:r>
          <a:endParaRPr lang="en-US" sz="2400" kern="1200">
            <a:solidFill>
              <a:srgbClr val="107C10"/>
            </a:solidFill>
          </a:endParaRPr>
        </a:p>
        <a:p>
          <a:pPr marL="228600" lvl="1" indent="-228600" algn="l" defTabSz="1066800">
            <a:lnSpc>
              <a:spcPct val="90000"/>
            </a:lnSpc>
            <a:spcBef>
              <a:spcPct val="0"/>
            </a:spcBef>
            <a:spcAft>
              <a:spcPct val="15000"/>
            </a:spcAft>
            <a:buChar char="•"/>
          </a:pPr>
          <a:r>
            <a:rPr lang="en-US" sz="2400" kern="1200" baseline="0"/>
            <a:t>Database Tuning Advisor</a:t>
          </a:r>
          <a:endParaRPr lang="en-US" sz="2400" kern="1200"/>
        </a:p>
      </dsp:txBody>
      <dsp:txXfrm>
        <a:off x="0" y="1537800"/>
        <a:ext cx="6126162" cy="2415599"/>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8535"/>
          <a:ext cx="10880725" cy="917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ich DMV/DMF are used to monitor index usage?</a:t>
          </a:r>
        </a:p>
      </dsp:txBody>
      <dsp:txXfrm>
        <a:off x="44778" y="73313"/>
        <a:ext cx="10791169" cy="827724"/>
      </dsp:txXfrm>
    </dsp:sp>
    <dsp:sp modelId="{4A71D5C7-A7D6-46CE-B888-CF65241F6B98}">
      <dsp:nvSpPr>
        <dsp:cNvPr id="0" name=""/>
        <dsp:cNvSpPr/>
      </dsp:nvSpPr>
      <dsp:spPr>
        <a:xfrm>
          <a:off x="0" y="1086935"/>
          <a:ext cx="10880725" cy="917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Does it make sense to add all SQL Server missing recommendations?</a:t>
          </a:r>
        </a:p>
      </dsp:txBody>
      <dsp:txXfrm>
        <a:off x="44778" y="1131713"/>
        <a:ext cx="10791169" cy="827724"/>
      </dsp:txXfrm>
    </dsp:sp>
    <dsp:sp modelId="{196D8D5C-AF3C-4B3F-BC76-432EBE3C6399}">
      <dsp:nvSpPr>
        <dsp:cNvPr id="0" name=""/>
        <dsp:cNvSpPr/>
      </dsp:nvSpPr>
      <dsp:spPr>
        <a:xfrm>
          <a:off x="0" y="2145335"/>
          <a:ext cx="10880725" cy="91728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en Managed Lock Priority should be used?</a:t>
          </a:r>
        </a:p>
      </dsp:txBody>
      <dsp:txXfrm>
        <a:off x="44778" y="2190113"/>
        <a:ext cx="10791169" cy="8277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BAC18E-F98D-4D88-9E1A-8E15AF4F1B34}">
      <dsp:nvSpPr>
        <dsp:cNvPr id="0" name=""/>
        <dsp:cNvSpPr/>
      </dsp:nvSpPr>
      <dsp:spPr>
        <a:xfrm>
          <a:off x="0" y="1924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nordered masses of data</a:t>
          </a:r>
          <a:endParaRPr lang="en-US" sz="2400" kern="1200"/>
        </a:p>
      </dsp:txBody>
      <dsp:txXfrm>
        <a:off x="30157" y="49401"/>
        <a:ext cx="10820412" cy="557445"/>
      </dsp:txXfrm>
    </dsp:sp>
    <dsp:sp modelId="{6D51083E-3BDA-4C7F-A063-C569DF8ECAA6}">
      <dsp:nvSpPr>
        <dsp:cNvPr id="0" name=""/>
        <dsp:cNvSpPr/>
      </dsp:nvSpPr>
      <dsp:spPr>
        <a:xfrm>
          <a:off x="0" y="70612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n be good for quickly importing large sets of data </a:t>
          </a:r>
          <a:endParaRPr lang="en-US" sz="2400" kern="1200"/>
        </a:p>
      </dsp:txBody>
      <dsp:txXfrm>
        <a:off x="30157" y="736281"/>
        <a:ext cx="10820412" cy="557445"/>
      </dsp:txXfrm>
    </dsp:sp>
    <dsp:sp modelId="{C5E1568C-DF25-487A-9DF0-1A7393314D27}">
      <dsp:nvSpPr>
        <dsp:cNvPr id="0" name=""/>
        <dsp:cNvSpPr/>
      </dsp:nvSpPr>
      <dsp:spPr>
        <a:xfrm>
          <a:off x="0" y="139300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Not a good idea for production-level data structures</a:t>
          </a:r>
          <a:endParaRPr lang="en-US" sz="2400" kern="1200"/>
        </a:p>
      </dsp:txBody>
      <dsp:txXfrm>
        <a:off x="30157" y="1423161"/>
        <a:ext cx="10820412" cy="557445"/>
      </dsp:txXfrm>
    </dsp:sp>
    <dsp:sp modelId="{C7CACAF1-8E2B-4142-8355-1EB9D4AFA673}">
      <dsp:nvSpPr>
        <dsp:cNvPr id="0" name=""/>
        <dsp:cNvSpPr/>
      </dsp:nvSpPr>
      <dsp:spPr>
        <a:xfrm>
          <a:off x="0" y="207988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se the ALTER TABLE…REBUILD command to “rebuild” a heap table</a:t>
          </a:r>
          <a:endParaRPr lang="en-US" sz="2400" kern="1200"/>
        </a:p>
      </dsp:txBody>
      <dsp:txXfrm>
        <a:off x="30157" y="2110041"/>
        <a:ext cx="10820412" cy="557445"/>
      </dsp:txXfrm>
    </dsp:sp>
    <dsp:sp modelId="{4F0061D7-D698-440E-8A4A-6D559561E831}">
      <dsp:nvSpPr>
        <dsp:cNvPr id="0" name=""/>
        <dsp:cNvSpPr/>
      </dsp:nvSpPr>
      <dsp:spPr>
        <a:xfrm>
          <a:off x="0" y="276676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o not use a heap </a:t>
          </a:r>
          <a:endParaRPr lang="en-US" sz="2400" kern="1200"/>
        </a:p>
      </dsp:txBody>
      <dsp:txXfrm>
        <a:off x="30157" y="2796921"/>
        <a:ext cx="10820412" cy="557445"/>
      </dsp:txXfrm>
    </dsp:sp>
    <dsp:sp modelId="{2A808A04-D311-4807-9060-D60C36113DBD}">
      <dsp:nvSpPr>
        <dsp:cNvPr id="0" name=""/>
        <dsp:cNvSpPr/>
      </dsp:nvSpPr>
      <dsp:spPr>
        <a:xfrm>
          <a:off x="0" y="3384524"/>
          <a:ext cx="10880726"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When the data is frequently returned in a sorted order.</a:t>
          </a:r>
          <a:endParaRPr lang="en-US" sz="1900" kern="1200"/>
        </a:p>
        <a:p>
          <a:pPr marL="171450" lvl="1" indent="-171450" algn="l" defTabSz="844550">
            <a:lnSpc>
              <a:spcPct val="90000"/>
            </a:lnSpc>
            <a:spcBef>
              <a:spcPct val="0"/>
            </a:spcBef>
            <a:spcAft>
              <a:spcPct val="20000"/>
            </a:spcAft>
            <a:buChar char="•"/>
          </a:pPr>
          <a:r>
            <a:rPr lang="en-US" sz="1900" kern="1200" baseline="0"/>
            <a:t>When the data is frequently grouped together.</a:t>
          </a:r>
          <a:endParaRPr lang="en-US" sz="1900" kern="1200"/>
        </a:p>
        <a:p>
          <a:pPr marL="171450" lvl="1" indent="-171450" algn="l" defTabSz="844550">
            <a:lnSpc>
              <a:spcPct val="90000"/>
            </a:lnSpc>
            <a:spcBef>
              <a:spcPct val="0"/>
            </a:spcBef>
            <a:spcAft>
              <a:spcPct val="20000"/>
            </a:spcAft>
            <a:buChar char="•"/>
          </a:pPr>
          <a:r>
            <a:rPr lang="en-US" sz="1900" kern="1200" baseline="0"/>
            <a:t>When ranges of data are frequently queried from the table.</a:t>
          </a:r>
          <a:endParaRPr lang="en-US" sz="1900" kern="1200"/>
        </a:p>
        <a:p>
          <a:pPr marL="171450" lvl="1" indent="-171450" algn="l" defTabSz="844550">
            <a:lnSpc>
              <a:spcPct val="90000"/>
            </a:lnSpc>
            <a:spcBef>
              <a:spcPct val="0"/>
            </a:spcBef>
            <a:spcAft>
              <a:spcPct val="20000"/>
            </a:spcAft>
            <a:buChar char="•"/>
          </a:pPr>
          <a:r>
            <a:rPr lang="en-US" sz="1900" kern="1200" baseline="0"/>
            <a:t>When there are no nonclustered indexes and the table is large.</a:t>
          </a:r>
          <a:endParaRPr lang="en-US" sz="1900" kern="1200"/>
        </a:p>
      </dsp:txBody>
      <dsp:txXfrm>
        <a:off x="0" y="3384524"/>
        <a:ext cx="10880726" cy="14158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D3DFA-3FA5-4AAC-9049-393145ACFE06}">
      <dsp:nvSpPr>
        <dsp:cNvPr id="0" name=""/>
        <dsp:cNvSpPr/>
      </dsp:nvSpPr>
      <dsp:spPr>
        <a:xfrm>
          <a:off x="0" y="588"/>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89BA8E-8C1F-4DC3-9496-56C4BF41A21B}">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670E33-B6FE-417B-AD49-1677CFE5F27A}">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An ordered data structure that is implemented as a Balanced (B) Tree.</a:t>
          </a:r>
          <a:endParaRPr lang="en-US" sz="2100" kern="1200" dirty="0"/>
        </a:p>
      </dsp:txBody>
      <dsp:txXfrm>
        <a:off x="1590096" y="588"/>
        <a:ext cx="9290629" cy="1376706"/>
      </dsp:txXfrm>
    </dsp:sp>
    <dsp:sp modelId="{812C09F5-1E00-4F05-9F75-7B18F51B805F}">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34B39B-B6B7-44E0-AFF6-E190ABAF226B}">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76F333-EA8D-49F9-A11E-5FE023BA65DD}">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When a table is clustered, the leaf level of the index contains ALL data in the table. This means that the clustered index IS the table. This is also why there is only one per table.</a:t>
          </a:r>
          <a:endParaRPr lang="en-US" sz="2100" kern="1200" dirty="0"/>
        </a:p>
      </dsp:txBody>
      <dsp:txXfrm>
        <a:off x="1590096" y="1721471"/>
        <a:ext cx="9290629" cy="1376706"/>
      </dsp:txXfrm>
    </dsp:sp>
    <dsp:sp modelId="{EB7A11B7-40C9-4C2D-8501-6AE16A4B4787}">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5D742C-8E7A-4351-9153-F2BE9EF856CA}">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C1712B-1734-4443-88F1-E5E5CB441BAD}">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The leaf level of the clustered index contains data pages.</a:t>
          </a:r>
          <a:endParaRPr lang="en-US" sz="2100" kern="1200" dirty="0"/>
        </a:p>
      </dsp:txBody>
      <dsp:txXfrm>
        <a:off x="1590096" y="3442354"/>
        <a:ext cx="9290629" cy="13767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9275B-E183-45F3-9FC2-5133B6D14A1C}">
      <dsp:nvSpPr>
        <dsp:cNvPr id="0" name=""/>
        <dsp:cNvSpPr/>
      </dsp:nvSpPr>
      <dsp:spPr>
        <a:xfrm>
          <a:off x="0" y="2130"/>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CDF78B-F671-4474-AFDC-AB0586B09D38}">
      <dsp:nvSpPr>
        <dsp:cNvPr id="0" name=""/>
        <dsp:cNvSpPr/>
      </dsp:nvSpPr>
      <dsp:spPr>
        <a:xfrm>
          <a:off x="326656" y="245098"/>
          <a:ext cx="593921" cy="59392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6471" b="647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8043C-98B9-4EE2-9B1A-538D698A37A2}">
      <dsp:nvSpPr>
        <dsp:cNvPr id="0" name=""/>
        <dsp:cNvSpPr/>
      </dsp:nvSpPr>
      <dsp:spPr>
        <a:xfrm>
          <a:off x="1247235" y="2130"/>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Same B-tree data structure as a clustered index.</a:t>
          </a:r>
          <a:endParaRPr lang="en-US" sz="2200" kern="1200"/>
        </a:p>
      </dsp:txBody>
      <dsp:txXfrm>
        <a:off x="1247235" y="2130"/>
        <a:ext cx="10408605" cy="1079857"/>
      </dsp:txXfrm>
    </dsp:sp>
    <dsp:sp modelId="{3138D751-E1E2-428F-B704-5533049F5E14}">
      <dsp:nvSpPr>
        <dsp:cNvPr id="0" name=""/>
        <dsp:cNvSpPr/>
      </dsp:nvSpPr>
      <dsp:spPr>
        <a:xfrm>
          <a:off x="0" y="1351952"/>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A836A4-C06F-43F0-B97D-65DFA3082CE2}">
      <dsp:nvSpPr>
        <dsp:cNvPr id="0" name=""/>
        <dsp:cNvSpPr/>
      </dsp:nvSpPr>
      <dsp:spPr>
        <a:xfrm>
          <a:off x="326656" y="1594920"/>
          <a:ext cx="593921" cy="59392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t="6322" b="632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5BEB2A-D1BD-4DBD-AF29-D20E6223D8E0}">
      <dsp:nvSpPr>
        <dsp:cNvPr id="0" name=""/>
        <dsp:cNvSpPr/>
      </dsp:nvSpPr>
      <dsp:spPr>
        <a:xfrm>
          <a:off x="1247235" y="1351952"/>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dirty="0"/>
            <a:t>It is an independent structure that is created from a Heap or Clustered Index.</a:t>
          </a:r>
          <a:endParaRPr lang="en-US" sz="2200" kern="1200" dirty="0"/>
        </a:p>
      </dsp:txBody>
      <dsp:txXfrm>
        <a:off x="1247235" y="1351952"/>
        <a:ext cx="10408605" cy="1079857"/>
      </dsp:txXfrm>
    </dsp:sp>
    <dsp:sp modelId="{B1B321F8-0F48-4EC3-A8BC-032D8A094BC3}">
      <dsp:nvSpPr>
        <dsp:cNvPr id="0" name=""/>
        <dsp:cNvSpPr/>
      </dsp:nvSpPr>
      <dsp:spPr>
        <a:xfrm>
          <a:off x="0" y="2701774"/>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65E1E2-6EE2-4B3F-85D6-B8EB0738B31B}">
      <dsp:nvSpPr>
        <dsp:cNvPr id="0" name=""/>
        <dsp:cNvSpPr/>
      </dsp:nvSpPr>
      <dsp:spPr>
        <a:xfrm>
          <a:off x="326656" y="2944742"/>
          <a:ext cx="593921" cy="59392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7D69F0-D5CF-4D00-AD8D-BCC137F6ECCE}">
      <dsp:nvSpPr>
        <dsp:cNvPr id="0" name=""/>
        <dsp:cNvSpPr/>
      </dsp:nvSpPr>
      <dsp:spPr>
        <a:xfrm>
          <a:off x="1247235" y="2701774"/>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Only contains a subset of the columns in the base table</a:t>
          </a:r>
          <a:endParaRPr lang="en-US" sz="2200" kern="1200"/>
        </a:p>
      </dsp:txBody>
      <dsp:txXfrm>
        <a:off x="1247235" y="2701774"/>
        <a:ext cx="10408605" cy="1079857"/>
      </dsp:txXfrm>
    </dsp:sp>
    <dsp:sp modelId="{2BAA5DA1-13BB-4B71-9F00-F59F845689B6}">
      <dsp:nvSpPr>
        <dsp:cNvPr id="0" name=""/>
        <dsp:cNvSpPr/>
      </dsp:nvSpPr>
      <dsp:spPr>
        <a:xfrm>
          <a:off x="0" y="4051596"/>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E8B214-EB6F-4894-B825-6FB2A6A6597D}">
      <dsp:nvSpPr>
        <dsp:cNvPr id="0" name=""/>
        <dsp:cNvSpPr/>
      </dsp:nvSpPr>
      <dsp:spPr>
        <a:xfrm>
          <a:off x="326656" y="4294564"/>
          <a:ext cx="593921" cy="59392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16146" r="1614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897854-AF76-48E4-BFAF-1A5DC77ACA3D}">
      <dsp:nvSpPr>
        <dsp:cNvPr id="0" name=""/>
        <dsp:cNvSpPr/>
      </dsp:nvSpPr>
      <dsp:spPr>
        <a:xfrm>
          <a:off x="1247235" y="4051596"/>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The leaf level contains only the columns defined in the index as well as the clustered key/heap ID that points to the base table structure.</a:t>
          </a:r>
          <a:endParaRPr lang="en-US" sz="2200" kern="1200"/>
        </a:p>
      </dsp:txBody>
      <dsp:txXfrm>
        <a:off x="1247235" y="4051596"/>
        <a:ext cx="10408605" cy="10798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79630F-50BE-409E-86C9-441827C6F625}">
      <dsp:nvSpPr>
        <dsp:cNvPr id="0" name=""/>
        <dsp:cNvSpPr/>
      </dsp:nvSpPr>
      <dsp:spPr>
        <a:xfrm>
          <a:off x="53" y="367232"/>
          <a:ext cx="5084401" cy="518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lustered Indexes</a:t>
          </a:r>
        </a:p>
      </dsp:txBody>
      <dsp:txXfrm>
        <a:off x="53" y="367232"/>
        <a:ext cx="5084401" cy="518400"/>
      </dsp:txXfrm>
    </dsp:sp>
    <dsp:sp modelId="{F2F5B685-C057-477F-88B0-0EC77369843A}">
      <dsp:nvSpPr>
        <dsp:cNvPr id="0" name=""/>
        <dsp:cNvSpPr/>
      </dsp:nvSpPr>
      <dsp:spPr>
        <a:xfrm>
          <a:off x="53" y="885632"/>
          <a:ext cx="5084401" cy="3566784"/>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kern="1200"/>
            <a:t>Defines the order in which data is physically stored in a table.</a:t>
          </a:r>
          <a:endParaRPr lang="en-US" sz="1800" b="0" kern="1200"/>
        </a:p>
        <a:p>
          <a:pPr marL="171450" lvl="1" indent="-171450" algn="l" defTabSz="800100">
            <a:lnSpc>
              <a:spcPct val="90000"/>
            </a:lnSpc>
            <a:spcBef>
              <a:spcPct val="0"/>
            </a:spcBef>
            <a:spcAft>
              <a:spcPct val="15000"/>
            </a:spcAft>
            <a:buChar char="•"/>
          </a:pPr>
          <a:r>
            <a:rPr lang="en-US" sz="1800" b="0" i="0" kern="1200"/>
            <a:t>Table data can be sorted in only one way.</a:t>
          </a:r>
          <a:endParaRPr lang="en-US" sz="1800" b="0" kern="1200"/>
        </a:p>
        <a:p>
          <a:pPr marL="171450" lvl="1" indent="-171450" algn="l" defTabSz="800100">
            <a:lnSpc>
              <a:spcPct val="90000"/>
            </a:lnSpc>
            <a:spcBef>
              <a:spcPct val="0"/>
            </a:spcBef>
            <a:spcAft>
              <a:spcPct val="15000"/>
            </a:spcAft>
            <a:buChar char="•"/>
          </a:pPr>
          <a:r>
            <a:rPr lang="en-US" sz="1800" kern="1200"/>
            <a:t>Leaf level has data rows stored with index.</a:t>
          </a:r>
        </a:p>
        <a:p>
          <a:pPr marL="171450" lvl="1" indent="-171450" algn="l" defTabSz="800100">
            <a:lnSpc>
              <a:spcPct val="90000"/>
            </a:lnSpc>
            <a:spcBef>
              <a:spcPct val="0"/>
            </a:spcBef>
            <a:spcAft>
              <a:spcPct val="15000"/>
            </a:spcAft>
            <a:buChar char="•"/>
          </a:pPr>
          <a:r>
            <a:rPr lang="en-US" sz="1800" b="0" i="0" kern="1200"/>
            <a:t>When a table has a clustered index, the object is called  clustered table.</a:t>
          </a:r>
          <a:endParaRPr lang="en-US" sz="1800" b="0" kern="1200"/>
        </a:p>
        <a:p>
          <a:pPr marL="171450" lvl="1" indent="-171450" algn="l" defTabSz="800100">
            <a:lnSpc>
              <a:spcPct val="90000"/>
            </a:lnSpc>
            <a:spcBef>
              <a:spcPct val="0"/>
            </a:spcBef>
            <a:spcAft>
              <a:spcPct val="15000"/>
            </a:spcAft>
            <a:buChar char="•"/>
          </a:pPr>
          <a:r>
            <a:rPr lang="en-US" sz="1800" b="0" kern="1200" dirty="0"/>
            <a:t>Cluster key is added to nonclustered index (as the pointer), keep it as narrow as possible.</a:t>
          </a:r>
        </a:p>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endParaRPr lang="en-US" sz="1800" kern="1200"/>
        </a:p>
      </dsp:txBody>
      <dsp:txXfrm>
        <a:off x="53" y="885632"/>
        <a:ext cx="5084401" cy="3566784"/>
      </dsp:txXfrm>
    </dsp:sp>
    <dsp:sp modelId="{4D155514-D448-46D1-BE52-48EDAE035B28}">
      <dsp:nvSpPr>
        <dsp:cNvPr id="0" name=""/>
        <dsp:cNvSpPr/>
      </dsp:nvSpPr>
      <dsp:spPr>
        <a:xfrm>
          <a:off x="5796270" y="367232"/>
          <a:ext cx="5084401" cy="5184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Non-clustered Indexes</a:t>
          </a:r>
        </a:p>
      </dsp:txBody>
      <dsp:txXfrm>
        <a:off x="5796270" y="367232"/>
        <a:ext cx="5084401" cy="518400"/>
      </dsp:txXfrm>
    </dsp:sp>
    <dsp:sp modelId="{C931E9E9-FBEF-41AA-A7A6-BCFE74984E33}">
      <dsp:nvSpPr>
        <dsp:cNvPr id="0" name=""/>
        <dsp:cNvSpPr/>
      </dsp:nvSpPr>
      <dsp:spPr>
        <a:xfrm>
          <a:off x="5796270" y="885632"/>
          <a:ext cx="5084401" cy="3566784"/>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parate structure from base table.</a:t>
          </a:r>
        </a:p>
        <a:p>
          <a:pPr marL="171450" lvl="1" indent="-171450" algn="l" defTabSz="800100">
            <a:lnSpc>
              <a:spcPct val="90000"/>
            </a:lnSpc>
            <a:spcBef>
              <a:spcPct val="0"/>
            </a:spcBef>
            <a:spcAft>
              <a:spcPct val="15000"/>
            </a:spcAft>
            <a:buChar char="•"/>
          </a:pPr>
          <a:r>
            <a:rPr lang="en-US" sz="1800" kern="1200" dirty="0"/>
            <a:t>Contains a pointer </a:t>
          </a:r>
          <a:r>
            <a:rPr lang="en-US" sz="1800" u="none" kern="1200" dirty="0"/>
            <a:t>back to base table called:</a:t>
          </a:r>
          <a:endParaRPr lang="en-US" sz="1800" kern="1200" dirty="0"/>
        </a:p>
        <a:p>
          <a:pPr marL="342900" lvl="2" indent="-171450" algn="l" defTabSz="800100">
            <a:lnSpc>
              <a:spcPct val="90000"/>
            </a:lnSpc>
            <a:spcBef>
              <a:spcPct val="0"/>
            </a:spcBef>
            <a:spcAft>
              <a:spcPct val="15000"/>
            </a:spcAft>
            <a:buChar char="•"/>
          </a:pPr>
          <a:r>
            <a:rPr lang="en-US" sz="1800" b="0" i="0" u="none" kern="1200" baseline="0">
              <a:effectLst/>
              <a:latin typeface="+mn-lt"/>
              <a:ea typeface="+mn-ea"/>
              <a:cs typeface="+mn-cs"/>
            </a:rPr>
            <a:t>Row ID (RID when base table is HEAP)</a:t>
          </a:r>
          <a:endParaRPr lang="en-US" sz="1800" kern="1200"/>
        </a:p>
        <a:p>
          <a:pPr marL="342900" lvl="2" indent="-171450" algn="l" defTabSz="800100">
            <a:lnSpc>
              <a:spcPct val="90000"/>
            </a:lnSpc>
            <a:spcBef>
              <a:spcPct val="0"/>
            </a:spcBef>
            <a:spcAft>
              <a:spcPct val="15000"/>
            </a:spcAft>
            <a:buChar char="•"/>
          </a:pPr>
          <a:r>
            <a:rPr lang="en-US" sz="1800" b="0" i="0" u="none" kern="1200" baseline="0">
              <a:effectLst/>
              <a:latin typeface="+mn-lt"/>
              <a:ea typeface="+mn-ea"/>
              <a:cs typeface="+mn-cs"/>
            </a:rPr>
            <a:t>Key      (KEY when base table is Clustered) </a:t>
          </a:r>
          <a:endParaRPr lang="en-US" sz="1800" kern="1200" dirty="0"/>
        </a:p>
        <a:p>
          <a:pPr marL="171450" lvl="1" indent="-171450" algn="l" defTabSz="800100">
            <a:lnSpc>
              <a:spcPct val="90000"/>
            </a:lnSpc>
            <a:spcBef>
              <a:spcPct val="0"/>
            </a:spcBef>
            <a:spcAft>
              <a:spcPct val="15000"/>
            </a:spcAft>
            <a:buChar char="•"/>
          </a:pPr>
          <a:r>
            <a:rPr lang="en-US" sz="1800" kern="1200"/>
            <a:t>“Skinny” data structure as it contains a  subset of base table only.</a:t>
          </a:r>
        </a:p>
        <a:p>
          <a:pPr marL="171450" lvl="1" indent="-171450" algn="l" defTabSz="800100">
            <a:lnSpc>
              <a:spcPct val="90000"/>
            </a:lnSpc>
            <a:spcBef>
              <a:spcPct val="0"/>
            </a:spcBef>
            <a:spcAft>
              <a:spcPct val="15000"/>
            </a:spcAft>
            <a:buChar char="•"/>
          </a:pPr>
          <a:r>
            <a:rPr lang="en-US" sz="1800" kern="1200"/>
            <a:t>To by-pass index key limits (1,700 bytes) ,non-key columns can be added to leaf level. </a:t>
          </a:r>
        </a:p>
        <a:p>
          <a:pPr marL="171450" lvl="1" indent="-171450" algn="l" defTabSz="800100">
            <a:lnSpc>
              <a:spcPct val="90000"/>
            </a:lnSpc>
            <a:spcBef>
              <a:spcPct val="0"/>
            </a:spcBef>
            <a:spcAft>
              <a:spcPct val="15000"/>
            </a:spcAft>
            <a:buChar char="•"/>
          </a:pPr>
          <a:r>
            <a:rPr lang="en-US" sz="1800" kern="1200"/>
            <a:t>As Leaf level contains fewer columns than base table, the non-clustered index uses fewer pages than the corresponding base table.</a:t>
          </a:r>
          <a:endParaRPr lang="en-US" sz="1800" u="none" kern="1200"/>
        </a:p>
      </dsp:txBody>
      <dsp:txXfrm>
        <a:off x="5796270" y="885632"/>
        <a:ext cx="5084401" cy="35667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E38D23-4F5A-46C2-9C4E-C8819AB3118D}">
      <dsp:nvSpPr>
        <dsp:cNvPr id="0" name=""/>
        <dsp:cNvSpPr/>
      </dsp:nvSpPr>
      <dsp:spPr>
        <a:xfrm>
          <a:off x="53" y="94012"/>
          <a:ext cx="5084401" cy="720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100000"/>
            </a:lnSpc>
            <a:spcBef>
              <a:spcPct val="0"/>
            </a:spcBef>
            <a:spcAft>
              <a:spcPct val="35000"/>
            </a:spcAft>
            <a:buNone/>
          </a:pPr>
          <a:r>
            <a:rPr lang="en-US" sz="2500" kern="1200" dirty="0"/>
            <a:t>Logical fragmentation</a:t>
          </a:r>
        </a:p>
      </dsp:txBody>
      <dsp:txXfrm>
        <a:off x="53" y="94012"/>
        <a:ext cx="5084401" cy="720000"/>
      </dsp:txXfrm>
    </dsp:sp>
    <dsp:sp modelId="{3469F410-2A05-43B8-84DB-D10E42D0EA9C}">
      <dsp:nvSpPr>
        <dsp:cNvPr id="0" name=""/>
        <dsp:cNvSpPr/>
      </dsp:nvSpPr>
      <dsp:spPr>
        <a:xfrm>
          <a:off x="53" y="814012"/>
          <a:ext cx="5084401" cy="391162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Occurs when leaf level pages are not physically corresponding to the logical order of the index:</a:t>
          </a:r>
        </a:p>
        <a:p>
          <a:pPr marL="457200" lvl="2" indent="-228600" algn="l" defTabSz="1111250">
            <a:lnSpc>
              <a:spcPct val="90000"/>
            </a:lnSpc>
            <a:spcBef>
              <a:spcPct val="0"/>
            </a:spcBef>
            <a:spcAft>
              <a:spcPct val="15000"/>
            </a:spcAft>
            <a:buChar char="•"/>
          </a:pPr>
          <a:r>
            <a:rPr lang="en-US" sz="2500" kern="1200"/>
            <a:t>Pages are not in the most efficient order for scanning purposes.</a:t>
          </a:r>
        </a:p>
        <a:p>
          <a:pPr marL="228600" lvl="1" indent="-228600" algn="l" defTabSz="1111250">
            <a:lnSpc>
              <a:spcPct val="90000"/>
            </a:lnSpc>
            <a:spcBef>
              <a:spcPct val="0"/>
            </a:spcBef>
            <a:spcAft>
              <a:spcPct val="15000"/>
            </a:spcAft>
            <a:buChar char="•"/>
          </a:pPr>
          <a:r>
            <a:rPr lang="en-US" sz="2500" kern="1200"/>
            <a:t>Limits the efficiency of read-ahead scans, but not seeks. </a:t>
          </a:r>
        </a:p>
      </dsp:txBody>
      <dsp:txXfrm>
        <a:off x="53" y="814012"/>
        <a:ext cx="5084401" cy="3911625"/>
      </dsp:txXfrm>
    </dsp:sp>
    <dsp:sp modelId="{A7014651-2CCA-4E07-B04E-06E52AFC8E74}">
      <dsp:nvSpPr>
        <dsp:cNvPr id="0" name=""/>
        <dsp:cNvSpPr/>
      </dsp:nvSpPr>
      <dsp:spPr>
        <a:xfrm>
          <a:off x="5796271" y="94012"/>
          <a:ext cx="5084401" cy="720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100000"/>
            </a:lnSpc>
            <a:spcBef>
              <a:spcPct val="0"/>
            </a:spcBef>
            <a:spcAft>
              <a:spcPct val="35000"/>
            </a:spcAft>
            <a:buNone/>
          </a:pPr>
          <a:r>
            <a:rPr lang="en-US" sz="2500" kern="1200" dirty="0"/>
            <a:t>Page density</a:t>
          </a:r>
        </a:p>
      </dsp:txBody>
      <dsp:txXfrm>
        <a:off x="5796271" y="94012"/>
        <a:ext cx="5084401" cy="720000"/>
      </dsp:txXfrm>
    </dsp:sp>
    <dsp:sp modelId="{CD977AA8-4F76-4E54-AE6F-EAAC6ECF6B9A}">
      <dsp:nvSpPr>
        <dsp:cNvPr id="0" name=""/>
        <dsp:cNvSpPr/>
      </dsp:nvSpPr>
      <dsp:spPr>
        <a:xfrm>
          <a:off x="5796271" y="814012"/>
          <a:ext cx="5084401" cy="391162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100000"/>
            </a:lnSpc>
            <a:spcBef>
              <a:spcPct val="0"/>
            </a:spcBef>
            <a:spcAft>
              <a:spcPct val="15000"/>
            </a:spcAft>
            <a:buChar char="•"/>
          </a:pPr>
          <a:r>
            <a:rPr lang="en-US" sz="2500" kern="1200" dirty="0"/>
            <a:t>How full a page is when a rebuild/reorganization occurs.</a:t>
          </a:r>
        </a:p>
        <a:p>
          <a:pPr marL="228600" lvl="1" indent="-228600" algn="l" defTabSz="1111250">
            <a:lnSpc>
              <a:spcPct val="100000"/>
            </a:lnSpc>
            <a:spcBef>
              <a:spcPct val="0"/>
            </a:spcBef>
            <a:spcAft>
              <a:spcPct val="15000"/>
            </a:spcAft>
            <a:buChar char="•"/>
          </a:pPr>
          <a:r>
            <a:rPr lang="en-US" sz="2500" kern="1200" dirty="0"/>
            <a:t>The fuller a page is, the more likely page splits occur when data is modified.</a:t>
          </a:r>
        </a:p>
        <a:p>
          <a:pPr marL="228600" lvl="1" indent="-228600" algn="l" defTabSz="1111250">
            <a:lnSpc>
              <a:spcPct val="100000"/>
            </a:lnSpc>
            <a:spcBef>
              <a:spcPct val="0"/>
            </a:spcBef>
            <a:spcAft>
              <a:spcPct val="15000"/>
            </a:spcAft>
            <a:buChar char="•"/>
          </a:pPr>
          <a:r>
            <a:rPr lang="en-US" sz="2500" kern="1200" dirty="0"/>
            <a:t>The less full a page is, the more wasted space in the buffer pool when reading pages.</a:t>
          </a:r>
        </a:p>
      </dsp:txBody>
      <dsp:txXfrm>
        <a:off x="5796271" y="814012"/>
        <a:ext cx="5084401" cy="39116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7505"/>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hree access methods reviewed in this lesson?</a:t>
          </a:r>
        </a:p>
      </dsp:txBody>
      <dsp:txXfrm>
        <a:off x="42036" y="59541"/>
        <a:ext cx="10796653" cy="777048"/>
      </dsp:txXfrm>
    </dsp:sp>
    <dsp:sp modelId="{4A71D5C7-A7D6-46CE-B888-CF65241F6B98}">
      <dsp:nvSpPr>
        <dsp:cNvPr id="0" name=""/>
        <dsp:cNvSpPr/>
      </dsp:nvSpPr>
      <dsp:spPr>
        <a:xfrm>
          <a:off x="0" y="1011105"/>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hree different types of allocations? </a:t>
          </a:r>
        </a:p>
      </dsp:txBody>
      <dsp:txXfrm>
        <a:off x="42036" y="1053141"/>
        <a:ext cx="10796653" cy="777048"/>
      </dsp:txXfrm>
    </dsp:sp>
    <dsp:sp modelId="{4CE6D622-6C4B-4912-A756-057BDFDF7259}">
      <dsp:nvSpPr>
        <dsp:cNvPr id="0" name=""/>
        <dsp:cNvSpPr/>
      </dsp:nvSpPr>
      <dsp:spPr>
        <a:xfrm>
          <a:off x="0" y="2004706"/>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rimary goal of indexing?</a:t>
          </a:r>
        </a:p>
      </dsp:txBody>
      <dsp:txXfrm>
        <a:off x="42036" y="2046742"/>
        <a:ext cx="10796653" cy="77704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41B4A-DFAD-4E95-9962-2C093565E9BF}">
      <dsp:nvSpPr>
        <dsp:cNvPr id="0" name=""/>
        <dsp:cNvSpPr/>
      </dsp:nvSpPr>
      <dsp:spPr>
        <a:xfrm>
          <a:off x="4139" y="384155"/>
          <a:ext cx="2489189"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Narrow</a:t>
          </a:r>
        </a:p>
      </dsp:txBody>
      <dsp:txXfrm>
        <a:off x="4139" y="384155"/>
        <a:ext cx="2489189" cy="691200"/>
      </dsp:txXfrm>
    </dsp:sp>
    <dsp:sp modelId="{3054F010-4FBC-416B-9ABF-97AD6E9C8F0D}">
      <dsp:nvSpPr>
        <dsp:cNvPr id="0" name=""/>
        <dsp:cNvSpPr/>
      </dsp:nvSpPr>
      <dsp:spPr>
        <a:xfrm>
          <a:off x="4139" y="1075355"/>
          <a:ext cx="2489189" cy="32940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 a data type with a small number of bytes to conserve space in tables and indexes</a:t>
          </a:r>
        </a:p>
      </dsp:txBody>
      <dsp:txXfrm>
        <a:off x="4139" y="1075355"/>
        <a:ext cx="2489189" cy="3294000"/>
      </dsp:txXfrm>
    </dsp:sp>
    <dsp:sp modelId="{763147AF-1FF9-485A-9729-4A680B954A40}">
      <dsp:nvSpPr>
        <dsp:cNvPr id="0" name=""/>
        <dsp:cNvSpPr/>
      </dsp:nvSpPr>
      <dsp:spPr>
        <a:xfrm>
          <a:off x="2841815" y="384155"/>
          <a:ext cx="2489189" cy="691200"/>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nique</a:t>
          </a:r>
        </a:p>
      </dsp:txBody>
      <dsp:txXfrm>
        <a:off x="2841815" y="384155"/>
        <a:ext cx="2489189" cy="691200"/>
      </dsp:txXfrm>
    </dsp:sp>
    <dsp:sp modelId="{BD48AE27-377F-404D-87E4-1FBB0CF4A686}">
      <dsp:nvSpPr>
        <dsp:cNvPr id="0" name=""/>
        <dsp:cNvSpPr/>
      </dsp:nvSpPr>
      <dsp:spPr>
        <a:xfrm>
          <a:off x="2841815" y="1075355"/>
          <a:ext cx="2489189" cy="3294000"/>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To avoid SQL adding a 4-byte uniquifier</a:t>
          </a:r>
          <a:endParaRPr lang="en-US" sz="2400" kern="1200" dirty="0"/>
        </a:p>
      </dsp:txBody>
      <dsp:txXfrm>
        <a:off x="2841815" y="1075355"/>
        <a:ext cx="2489189" cy="3294000"/>
      </dsp:txXfrm>
    </dsp:sp>
    <dsp:sp modelId="{34B2FABE-8128-4E75-B0F4-F292E9EA6E19}">
      <dsp:nvSpPr>
        <dsp:cNvPr id="0" name=""/>
        <dsp:cNvSpPr/>
      </dsp:nvSpPr>
      <dsp:spPr>
        <a:xfrm>
          <a:off x="5679492" y="384155"/>
          <a:ext cx="2489189" cy="691200"/>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atic</a:t>
          </a:r>
        </a:p>
      </dsp:txBody>
      <dsp:txXfrm>
        <a:off x="5679492" y="384155"/>
        <a:ext cx="2489189" cy="691200"/>
      </dsp:txXfrm>
    </dsp:sp>
    <dsp:sp modelId="{BB2779C5-2B1E-4DDB-AC32-7413C221669E}">
      <dsp:nvSpPr>
        <dsp:cNvPr id="0" name=""/>
        <dsp:cNvSpPr/>
      </dsp:nvSpPr>
      <dsp:spPr>
        <a:xfrm>
          <a:off x="5679492" y="1075355"/>
          <a:ext cx="2489189" cy="3294000"/>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data to stay constant without constant changes which could lead to page splits</a:t>
          </a:r>
          <a:endParaRPr lang="en-US" sz="2400" kern="1200" dirty="0"/>
        </a:p>
      </dsp:txBody>
      <dsp:txXfrm>
        <a:off x="5679492" y="1075355"/>
        <a:ext cx="2489189" cy="3294000"/>
      </dsp:txXfrm>
    </dsp:sp>
    <dsp:sp modelId="{6B9C340A-4C2D-4897-B4C9-C697ACEFEFF6}">
      <dsp:nvSpPr>
        <dsp:cNvPr id="0" name=""/>
        <dsp:cNvSpPr/>
      </dsp:nvSpPr>
      <dsp:spPr>
        <a:xfrm>
          <a:off x="8517168" y="384155"/>
          <a:ext cx="2489189" cy="691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Increasing</a:t>
          </a:r>
        </a:p>
      </dsp:txBody>
      <dsp:txXfrm>
        <a:off x="8517168" y="384155"/>
        <a:ext cx="2489189" cy="691200"/>
      </dsp:txXfrm>
    </dsp:sp>
    <dsp:sp modelId="{FF30CCCE-2AE3-4D84-8D37-03DD4AB19273}">
      <dsp:nvSpPr>
        <dsp:cNvPr id="0" name=""/>
        <dsp:cNvSpPr/>
      </dsp:nvSpPr>
      <dsp:spPr>
        <a:xfrm>
          <a:off x="8517168" y="1075355"/>
          <a:ext cx="2489189" cy="32940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better write performance and reduces fragmentation issues</a:t>
          </a:r>
          <a:endParaRPr lang="en-US" sz="2400" kern="1200" dirty="0"/>
        </a:p>
      </dsp:txBody>
      <dsp:txXfrm>
        <a:off x="8517168" y="1075355"/>
        <a:ext cx="2489189" cy="329400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1.02.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2/1/2024</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indexes/create-indexes-with-included-columns?view=sql-server-ver15" TargetMode="External"/><Relationship Id="rId7" Type="http://schemas.openxmlformats.org/officeDocument/2006/relationships/hyperlink" Target="https://docs.microsoft.com/en-us/sql/relational-databases/indexes/clustered-and-nonclustered-indexes-described?view=sql-server-ver15"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microsoft.com/en-us/sql/relational-databases/indexes/indexes?view=sql-server-ver15" TargetMode="External"/><Relationship Id="rId5" Type="http://schemas.openxmlformats.org/officeDocument/2006/relationships/hyperlink" Target="https://docs.microsoft.com/en-us/sql/relational-databases/indexes/create-unique-indexes?view=sql-server-ver15" TargetMode="External"/><Relationship Id="rId4" Type="http://schemas.openxmlformats.org/officeDocument/2006/relationships/hyperlink" Target="https://docs.microsoft.com/en-us/sql/sql-server/maximum-capacity-specifications-for-sql-server?view=sql-server-ver15"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sql/relational-databases/sql-server-index-design-guide?view=sql-server-ver16#General_Design"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rchive/blogs/josebda/sql-server-2008-indexing-best-practice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usage-stats-transact-sql?redirectedfrom=MSDN&amp;view=sql-server-ver15"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usage-stats-transact-sql?redirectedfrom=MSDN&amp;view=sql-server-ver15"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operational-stats-transact-sql?view=sql-server-ver15"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physical-stats-transact-sql?view=sql-server-ver15"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sql/relational-databases/indexes/reorganize-and-rebuild-indexes?view=sql-server-ver15"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246932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ustered Index </a:t>
            </a:r>
          </a:p>
          <a:p>
            <a:pPr marL="171450" indent="-171450">
              <a:buFont typeface="Arial" panose="020B0604020202020204" pitchFamily="34" charset="0"/>
              <a:buChar char="•"/>
            </a:pPr>
            <a:r>
              <a:rPr lang="en-US" dirty="0"/>
              <a:t>Implemented as an Inverted Balanced (B) Tree, or B-Tree.</a:t>
            </a:r>
          </a:p>
          <a:p>
            <a:pPr lvl="2"/>
            <a:r>
              <a:rPr lang="en-US" dirty="0"/>
              <a:t>The top of the B-Tree contains the ROOT Level.</a:t>
            </a:r>
            <a:br>
              <a:rPr lang="en-US" dirty="0"/>
            </a:br>
            <a:r>
              <a:rPr lang="en-US" dirty="0"/>
              <a:t>Contains range of key values and indication of location for those key ranges.</a:t>
            </a:r>
          </a:p>
          <a:p>
            <a:pPr lvl="2"/>
            <a:r>
              <a:rPr lang="en-US" dirty="0"/>
              <a:t>Intermediate Level(s) are located below Root Level</a:t>
            </a:r>
          </a:p>
          <a:p>
            <a:pPr lvl="3"/>
            <a:r>
              <a:rPr lang="en-US" sz="2400" dirty="0"/>
              <a:t>Contain finer grain key distribution.</a:t>
            </a:r>
          </a:p>
          <a:p>
            <a:pPr lvl="4"/>
            <a:r>
              <a:rPr lang="en-US" dirty="0"/>
              <a:t>Number of Intermediate levels is proportional to Cluster Key width, and the number of rows.</a:t>
            </a:r>
          </a:p>
          <a:p>
            <a:pPr lvl="4"/>
            <a:r>
              <a:rPr lang="en-US" dirty="0"/>
              <a:t>A small Clustered Table may not have Root or Intermediate level(s).</a:t>
            </a:r>
          </a:p>
          <a:p>
            <a:pPr lvl="2"/>
            <a:r>
              <a:rPr lang="en-US" dirty="0"/>
              <a:t>Leaf Level contains the actual data pag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253104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ustered Index </a:t>
            </a:r>
          </a:p>
          <a:p>
            <a:pPr marL="171450" indent="-171450">
              <a:buFont typeface="Arial" panose="020B0604020202020204" pitchFamily="34" charset="0"/>
              <a:buChar char="•"/>
            </a:pPr>
            <a:r>
              <a:rPr lang="en-US" dirty="0"/>
              <a:t>Implemented as an Inverted Balanced (B) Tree, or B-Tree.</a:t>
            </a:r>
          </a:p>
          <a:p>
            <a:pPr lvl="2"/>
            <a:r>
              <a:rPr lang="en-US" dirty="0"/>
              <a:t>The top of the B-Tree contains the ROOT Level.</a:t>
            </a:r>
            <a:br>
              <a:rPr lang="en-US" dirty="0"/>
            </a:br>
            <a:r>
              <a:rPr lang="en-US" dirty="0"/>
              <a:t>Contains range of key values and indication of location for those key ranges.</a:t>
            </a:r>
          </a:p>
          <a:p>
            <a:pPr lvl="2"/>
            <a:r>
              <a:rPr lang="en-US" dirty="0"/>
              <a:t>Intermediate Level(s) are located below Root Level</a:t>
            </a:r>
          </a:p>
          <a:p>
            <a:pPr lvl="3"/>
            <a:r>
              <a:rPr lang="en-US" sz="2400" dirty="0"/>
              <a:t>Contain finer grain key distribution.</a:t>
            </a:r>
          </a:p>
          <a:p>
            <a:pPr lvl="4"/>
            <a:r>
              <a:rPr lang="en-US" dirty="0"/>
              <a:t>Number of Intermediate levels is proportional to Cluster Key width, and the number of rows.</a:t>
            </a:r>
          </a:p>
          <a:p>
            <a:pPr lvl="4"/>
            <a:r>
              <a:rPr lang="en-US" dirty="0"/>
              <a:t>A small Clustered Table may not have Root or Intermediate level(s).</a:t>
            </a:r>
          </a:p>
          <a:p>
            <a:pPr lvl="2"/>
            <a:r>
              <a:rPr lang="en-US" dirty="0"/>
              <a:t>Leaf Level contains the actual data pag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3084184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2/1/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900" b="0" dirty="0"/>
              <a:t>E:\Demos\05_Indexing_Strategy\</a:t>
            </a:r>
            <a:r>
              <a:rPr lang="en-US" sz="882" i="1" noProof="1">
                <a:solidFill>
                  <a:prstClr val="black"/>
                </a:solidFill>
                <a:latin typeface="Segoe UI Light" pitchFamily="34" charset="0"/>
              </a:rPr>
              <a:t>Examine_Index_MetaData.sql</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t>E:\Demos\05_Indexing_Strategy\</a:t>
            </a:r>
            <a:r>
              <a:rPr lang="en-US" sz="882" i="1" noProof="1">
                <a:solidFill>
                  <a:prstClr val="black"/>
                </a:solidFill>
                <a:latin typeface="Segoe UI Light" pitchFamily="34" charset="0"/>
              </a:rPr>
              <a:t>Building_a_B-Tree.sql</a:t>
            </a: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n-Clustered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909717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BF714-69E3-EF47-279A-0EF91E9A618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F63AF7-1858-0D63-C5C4-4A8BF65C92B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66AA5074-D8C1-1130-9A2C-6F01076F8A7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E14CD52E-7212-AFA5-150A-25FB6C954C5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41BE4F1-10E6-BA24-FB32-D5C83C37A06E}"/>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900" b="0" dirty="0"/>
              <a:t>E:\Demos\05_Indexing_Strategy\</a:t>
            </a:r>
            <a:r>
              <a:rPr lang="en-US" sz="1000" b="0" i="1" noProof="1">
                <a:solidFill>
                  <a:prstClr val="black"/>
                </a:solidFill>
                <a:latin typeface="Segoe UI Light" pitchFamily="34" charset="0"/>
              </a:rPr>
              <a:t>NCI_Covering_Includes</a:t>
            </a:r>
            <a:endParaRPr lang="en-US" sz="1000" i="1"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3657FCCC-E2EE-F01A-7597-B37680B7BD88}"/>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280002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Clustered</a:t>
            </a:r>
          </a:p>
          <a:p>
            <a:pPr lvl="1"/>
            <a:r>
              <a:rPr lang="en-US" sz="882" b="0" i="0" kern="1200" baseline="0" dirty="0">
                <a:solidFill>
                  <a:schemeClr val="tx1"/>
                </a:solidFill>
                <a:effectLst/>
                <a:latin typeface="+mn-lt"/>
                <a:ea typeface="+mn-ea"/>
                <a:cs typeface="+mn-cs"/>
              </a:rPr>
              <a:t>Clustered indexes sort and store the data rows in the table or view based on their key values. These are the columns included in the index definition. </a:t>
            </a:r>
            <a:r>
              <a:rPr lang="en-US" sz="882" b="1" i="0" kern="1200" baseline="0" dirty="0">
                <a:solidFill>
                  <a:schemeClr val="tx1"/>
                </a:solidFill>
                <a:effectLst/>
                <a:latin typeface="+mn-lt"/>
                <a:ea typeface="+mn-ea"/>
                <a:cs typeface="+mn-cs"/>
              </a:rPr>
              <a:t>There can be only one clustered index per table, because the data rows themselves can be stored in only one order</a:t>
            </a:r>
            <a:r>
              <a:rPr lang="en-US" sz="882" b="0" i="0" kern="1200" baseline="0" dirty="0">
                <a:solidFill>
                  <a:schemeClr val="tx1"/>
                </a:solidFill>
                <a:effectLst/>
                <a:latin typeface="+mn-lt"/>
                <a:ea typeface="+mn-ea"/>
                <a:cs typeface="+mn-cs"/>
              </a:rPr>
              <a:t>.  </a:t>
            </a:r>
          </a:p>
          <a:p>
            <a:pPr lvl="1"/>
            <a:r>
              <a:rPr lang="en-US" sz="882" b="1" i="0" kern="1200" baseline="0" dirty="0">
                <a:solidFill>
                  <a:schemeClr val="tx1"/>
                </a:solidFill>
                <a:effectLst/>
                <a:latin typeface="+mn-lt"/>
                <a:ea typeface="+mn-ea"/>
                <a:cs typeface="+mn-cs"/>
              </a:rPr>
              <a:t>The only time the data rows in a table are stored in sorted order is when the table contains a clustered index. </a:t>
            </a:r>
            <a:r>
              <a:rPr lang="en-US" sz="882" b="0" i="0" kern="1200" baseline="0" dirty="0">
                <a:solidFill>
                  <a:schemeClr val="tx1"/>
                </a:solidFill>
                <a:effectLst/>
                <a:latin typeface="+mn-lt"/>
                <a:ea typeface="+mn-ea"/>
                <a:cs typeface="+mn-cs"/>
              </a:rPr>
              <a:t>When a table has a clustered index, the table is called a clustered table. If a table has no clustered index, its data rows are stored in an unordered structure called a heap.</a:t>
            </a:r>
          </a:p>
          <a:p>
            <a:r>
              <a:rPr lang="en-US" sz="882" b="1" i="0" kern="1200" baseline="0" dirty="0">
                <a:solidFill>
                  <a:schemeClr val="tx1"/>
                </a:solidFill>
                <a:effectLst/>
                <a:latin typeface="+mn-lt"/>
                <a:ea typeface="+mn-ea"/>
                <a:cs typeface="+mn-cs"/>
              </a:rPr>
              <a:t>Nonclustered</a:t>
            </a:r>
          </a:p>
          <a:p>
            <a:pPr lvl="1"/>
            <a:r>
              <a:rPr lang="en-US" sz="882" b="1" i="0" kern="1200" baseline="0" dirty="0">
                <a:solidFill>
                  <a:schemeClr val="tx1"/>
                </a:solidFill>
                <a:effectLst/>
                <a:latin typeface="+mn-lt"/>
                <a:ea typeface="+mn-ea"/>
                <a:cs typeface="+mn-cs"/>
              </a:rPr>
              <a:t>Nonclustered indexes have a structure separate from the data rows</a:t>
            </a:r>
            <a:r>
              <a:rPr lang="en-US" sz="882" b="0" i="0" kern="1200" baseline="0" dirty="0">
                <a:solidFill>
                  <a:schemeClr val="tx1"/>
                </a:solidFill>
                <a:effectLst/>
                <a:latin typeface="+mn-lt"/>
                <a:ea typeface="+mn-ea"/>
                <a:cs typeface="+mn-cs"/>
              </a:rPr>
              <a:t>. A nonclustered index contains the nonclustered index key values and </a:t>
            </a:r>
            <a:r>
              <a:rPr lang="en-US" sz="882" b="1" i="0" kern="1200" baseline="0" dirty="0">
                <a:solidFill>
                  <a:schemeClr val="tx1"/>
                </a:solidFill>
                <a:effectLst/>
                <a:latin typeface="+mn-lt"/>
                <a:ea typeface="+mn-ea"/>
                <a:cs typeface="+mn-cs"/>
              </a:rPr>
              <a:t>each key value entry has a pointer to the data row that contains the key value.</a:t>
            </a:r>
          </a:p>
          <a:p>
            <a:pPr lvl="1"/>
            <a:r>
              <a:rPr lang="en-US" sz="882" b="0" i="0" u="sng" kern="1200" baseline="0" dirty="0">
                <a:solidFill>
                  <a:schemeClr val="tx1"/>
                </a:solidFill>
                <a:effectLst/>
                <a:latin typeface="+mn-lt"/>
                <a:ea typeface="+mn-ea"/>
                <a:cs typeface="+mn-cs"/>
              </a:rPr>
              <a:t>The pointer from an index row in a nonclustered index to a data row is called a row locator</a:t>
            </a:r>
            <a:r>
              <a:rPr lang="en-US" sz="882" b="0" i="0" kern="1200" baseline="0" dirty="0">
                <a:solidFill>
                  <a:schemeClr val="tx1"/>
                </a:solidFill>
                <a:effectLst/>
                <a:latin typeface="+mn-lt"/>
                <a:ea typeface="+mn-ea"/>
                <a:cs typeface="+mn-cs"/>
              </a:rPr>
              <a:t>. The structure of the row locator depends on whether the data pages are stored in a heap or a clustered table. For a heap, a row locator is a pointer to the row. For a clustered table, the row locator is the clustered index key.</a:t>
            </a:r>
          </a:p>
          <a:p>
            <a:pPr lvl="1"/>
            <a:r>
              <a:rPr lang="en-US" sz="882" b="1" i="0" u="sng" kern="1200" baseline="0" dirty="0">
                <a:solidFill>
                  <a:schemeClr val="tx1"/>
                </a:solidFill>
                <a:effectLst/>
                <a:latin typeface="+mn-lt"/>
                <a:ea typeface="+mn-ea"/>
                <a:cs typeface="+mn-cs"/>
              </a:rPr>
              <a:t>You can add non-key columns to the leaf level of the nonclustered index to by-pass existing index key limits, and execute fully covered, indexed, queries</a:t>
            </a:r>
            <a:r>
              <a:rPr lang="en-US" sz="882" b="0" i="0" kern="1200" baseline="0" dirty="0">
                <a:solidFill>
                  <a:schemeClr val="tx1"/>
                </a:solidFill>
                <a:effectLst/>
                <a:latin typeface="+mn-lt"/>
                <a:ea typeface="+mn-ea"/>
                <a:cs typeface="+mn-cs"/>
              </a:rPr>
              <a:t>. For more information, see </a:t>
            </a:r>
            <a:r>
              <a:rPr lang="en-US" sz="882" b="0" i="0" u="sng" kern="1200" baseline="0" dirty="0">
                <a:solidFill>
                  <a:schemeClr val="tx1"/>
                </a:solidFill>
                <a:effectLst/>
                <a:latin typeface="+mn-lt"/>
                <a:ea typeface="+mn-ea"/>
                <a:cs typeface="+mn-cs"/>
                <a:hlinkClick r:id="rId3"/>
              </a:rPr>
              <a:t>Create Indexes with Included Columns</a:t>
            </a:r>
            <a:r>
              <a:rPr lang="en-US" sz="882" b="0" i="0" kern="1200" baseline="0" dirty="0">
                <a:solidFill>
                  <a:schemeClr val="tx1"/>
                </a:solidFill>
                <a:effectLst/>
                <a:latin typeface="+mn-lt"/>
                <a:ea typeface="+mn-ea"/>
                <a:cs typeface="+mn-cs"/>
              </a:rPr>
              <a:t>. For details about index key limits see </a:t>
            </a:r>
            <a:r>
              <a:rPr lang="en-US" sz="882" b="0" i="0" u="sng" kern="1200" baseline="0" dirty="0">
                <a:solidFill>
                  <a:schemeClr val="tx1"/>
                </a:solidFill>
                <a:effectLst/>
                <a:latin typeface="+mn-lt"/>
                <a:ea typeface="+mn-ea"/>
                <a:cs typeface="+mn-cs"/>
                <a:hlinkClick r:id="rId4"/>
              </a:rPr>
              <a:t>Maximum Capacity Specifications for SQL Server</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Both clustered and nonclustered indexes can be unique. This means no two rows can have the same value for the index key. Otherwise, the index is not unique and multiple rows can share the same key value. For more information, see </a:t>
            </a:r>
            <a:r>
              <a:rPr lang="en-US" sz="882" b="0" i="0" u="sng" kern="1200" baseline="0" dirty="0">
                <a:solidFill>
                  <a:schemeClr val="tx1"/>
                </a:solidFill>
                <a:effectLst/>
                <a:latin typeface="+mn-lt"/>
                <a:ea typeface="+mn-ea"/>
                <a:cs typeface="+mn-cs"/>
                <a:hlinkClick r:id="rId5"/>
              </a:rPr>
              <a:t>Create Unique Indexes</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Indexes are automatically maintained for a table or view whenever the table data is modified.</a:t>
            </a:r>
          </a:p>
          <a:p>
            <a:r>
              <a:rPr lang="en-US" sz="882" b="0" i="0" kern="1200" baseline="0" dirty="0">
                <a:solidFill>
                  <a:schemeClr val="tx1"/>
                </a:solidFill>
                <a:effectLst/>
                <a:latin typeface="+mn-lt"/>
                <a:ea typeface="+mn-ea"/>
                <a:cs typeface="+mn-cs"/>
              </a:rPr>
              <a:t>See </a:t>
            </a:r>
            <a:r>
              <a:rPr lang="en-US" sz="882" b="0" i="0" u="sng" kern="1200" baseline="0" dirty="0">
                <a:solidFill>
                  <a:schemeClr val="tx1"/>
                </a:solidFill>
                <a:effectLst/>
                <a:latin typeface="+mn-lt"/>
                <a:ea typeface="+mn-ea"/>
                <a:cs typeface="+mn-cs"/>
                <a:hlinkClick r:id="rId6"/>
              </a:rPr>
              <a:t>Indexes</a:t>
            </a:r>
            <a:r>
              <a:rPr lang="en-US" sz="882" b="0" i="0" kern="1200" baseline="0" dirty="0">
                <a:solidFill>
                  <a:schemeClr val="tx1"/>
                </a:solidFill>
                <a:effectLst/>
                <a:latin typeface="+mn-lt"/>
                <a:ea typeface="+mn-ea"/>
                <a:cs typeface="+mn-cs"/>
              </a:rPr>
              <a:t> for additional types of special purpose indexes.</a:t>
            </a:r>
            <a:endParaRPr lang="en-US" dirty="0"/>
          </a:p>
          <a:p>
            <a:endParaRPr lang="en-US" dirty="0"/>
          </a:p>
          <a:p>
            <a:r>
              <a:rPr lang="en-US" dirty="0"/>
              <a:t>References : </a:t>
            </a:r>
            <a:r>
              <a:rPr lang="en-US" dirty="0">
                <a:hlinkClick r:id="rId7"/>
              </a:rPr>
              <a:t>https://docs.microsoft.com/en-us/sql/relational-databases/indexes/clustered-and-nonclustered-indexes-described?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22262146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ustered Index </a:t>
            </a:r>
          </a:p>
          <a:p>
            <a:pPr marL="171450" indent="-171450">
              <a:buFont typeface="Arial" panose="020B0604020202020204" pitchFamily="34" charset="0"/>
              <a:buChar char="•"/>
            </a:pPr>
            <a:r>
              <a:rPr lang="en-US" dirty="0"/>
              <a:t>Implemented as an Inverted Balanced (B) Tree, or B-Tree.</a:t>
            </a:r>
          </a:p>
          <a:p>
            <a:pPr lvl="2"/>
            <a:r>
              <a:rPr lang="en-US" dirty="0"/>
              <a:t>The top of the B-Tree contains the ROOT Level.</a:t>
            </a:r>
            <a:br>
              <a:rPr lang="en-US" dirty="0"/>
            </a:br>
            <a:r>
              <a:rPr lang="en-US" dirty="0"/>
              <a:t>Contains range of key values and indication of location for those key ranges.</a:t>
            </a:r>
          </a:p>
          <a:p>
            <a:pPr lvl="2"/>
            <a:r>
              <a:rPr lang="en-US" dirty="0"/>
              <a:t>Intermediate Level(s) are located below Root Level</a:t>
            </a:r>
          </a:p>
          <a:p>
            <a:pPr lvl="3"/>
            <a:r>
              <a:rPr lang="en-US" sz="2400" dirty="0"/>
              <a:t>Contain finer grain key distribution.</a:t>
            </a:r>
          </a:p>
          <a:p>
            <a:pPr lvl="4"/>
            <a:r>
              <a:rPr lang="en-US" dirty="0"/>
              <a:t>Number of Intermediate levels is proportional to Cluster Key width, and the number of rows.</a:t>
            </a:r>
          </a:p>
          <a:p>
            <a:pPr lvl="4"/>
            <a:r>
              <a:rPr lang="en-US" dirty="0"/>
              <a:t>A small Clustered Table may not have Root or Intermediate level(s).</a:t>
            </a:r>
          </a:p>
          <a:p>
            <a:pPr lvl="2"/>
            <a:r>
              <a:rPr lang="en-US" dirty="0"/>
              <a:t>Leaf Level contains the actual data pages.</a:t>
            </a:r>
          </a:p>
          <a:p>
            <a:r>
              <a:rPr lang="en-US" b="1" dirty="0"/>
              <a:t>Non-Clustered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2933565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64163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316831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nswer 1:  The three access methods are:</a:t>
            </a:r>
          </a:p>
          <a:p>
            <a:pPr marL="500634" lvl="2" indent="-171450">
              <a:buFont typeface="Arial" panose="020B0604020202020204" pitchFamily="34" charset="0"/>
              <a:buChar char="•"/>
            </a:pPr>
            <a:r>
              <a:rPr lang="en-US" dirty="0"/>
              <a:t>S</a:t>
            </a:r>
            <a:r>
              <a:rPr lang="en-US" baseline="0" dirty="0"/>
              <a:t>cans, which read all the data.  </a:t>
            </a:r>
          </a:p>
          <a:p>
            <a:pPr marL="500634" lvl="2" indent="-171450">
              <a:buFont typeface="Arial" panose="020B0604020202020204" pitchFamily="34" charset="0"/>
              <a:buChar char="•"/>
            </a:pPr>
            <a:r>
              <a:rPr lang="en-US" baseline="0" dirty="0"/>
              <a:t>Seeks, which read parts of the data by traversing the B-tree to find exactly where to start and stop.  </a:t>
            </a:r>
          </a:p>
          <a:p>
            <a:pPr marL="500634" lvl="2" indent="-171450">
              <a:buFont typeface="Arial" panose="020B0604020202020204" pitchFamily="34" charset="0"/>
              <a:buChar char="•"/>
            </a:pPr>
            <a:r>
              <a:rPr lang="en-US" baseline="0" dirty="0"/>
              <a:t>Lookups, which get the columns needed in the select clause when a nonclustered index cannot cover.</a:t>
            </a:r>
          </a:p>
          <a:p>
            <a:endParaRPr lang="en-US" baseline="0" dirty="0"/>
          </a:p>
          <a:p>
            <a:pPr marL="0" indent="0">
              <a:buFont typeface="Arial" panose="020B0604020202020204" pitchFamily="34" charset="0"/>
              <a:buNone/>
            </a:pPr>
            <a:r>
              <a:rPr lang="en-US" baseline="0" dirty="0"/>
              <a:t>Answer 2:  </a:t>
            </a:r>
            <a:r>
              <a:rPr lang="en-US" dirty="0"/>
              <a:t>I</a:t>
            </a:r>
            <a:r>
              <a:rPr lang="en-US" baseline="0" dirty="0"/>
              <a:t>n row data, which holds </a:t>
            </a:r>
            <a:r>
              <a:rPr lang="en-US" baseline="0" dirty="0" err="1"/>
              <a:t>ints</a:t>
            </a:r>
            <a:r>
              <a:rPr lang="en-US" baseline="0" dirty="0"/>
              <a:t>, datetimes, and other basic data types. </a:t>
            </a:r>
          </a:p>
          <a:p>
            <a:pPr marL="381762" lvl="1" indent="-171450">
              <a:buFont typeface="Arial" panose="020B0604020202020204" pitchFamily="34" charset="0"/>
              <a:buChar char="•"/>
            </a:pPr>
            <a:r>
              <a:rPr lang="en-US" baseline="0" dirty="0"/>
              <a:t>Strings can be stored in-row data when they fit in the page.</a:t>
            </a:r>
          </a:p>
          <a:p>
            <a:pPr marL="381762" lvl="1" indent="-171450">
              <a:buFont typeface="Arial" panose="020B0604020202020204" pitchFamily="34" charset="0"/>
              <a:buChar char="•"/>
            </a:pPr>
            <a:r>
              <a:rPr lang="en-US" baseline="0" dirty="0"/>
              <a:t>Row overflow data holds strings that are too large to fit in-row data.</a:t>
            </a:r>
          </a:p>
          <a:p>
            <a:pPr marL="381762" lvl="1" indent="-171450">
              <a:buFont typeface="Arial" panose="020B0604020202020204" pitchFamily="34" charset="0"/>
              <a:buChar char="•"/>
            </a:pPr>
            <a:r>
              <a:rPr lang="en-US" baseline="0" dirty="0"/>
              <a:t>LOB data </a:t>
            </a:r>
            <a:r>
              <a:rPr lang="en-US" sz="882" b="0" i="0" kern="1200" baseline="0" dirty="0">
                <a:solidFill>
                  <a:schemeClr val="tx1"/>
                </a:solidFill>
                <a:effectLst/>
                <a:latin typeface="+mn-lt"/>
                <a:ea typeface="+mn-ea"/>
                <a:cs typeface="+mn-cs"/>
              </a:rPr>
              <a:t>, such as xml, varbinary(max), and varchar(max).</a:t>
            </a:r>
            <a:endParaRPr lang="en-US" baseline="0" dirty="0"/>
          </a:p>
          <a:p>
            <a:endParaRPr lang="en-US" baseline="0" dirty="0"/>
          </a:p>
          <a:p>
            <a:r>
              <a:rPr lang="en-US" baseline="0" dirty="0"/>
              <a:t>Answer 3: The</a:t>
            </a:r>
            <a:r>
              <a:rPr lang="en-US" dirty="0"/>
              <a:t> primary goal of indexing is to reduce</a:t>
            </a:r>
            <a:r>
              <a:rPr lang="en-US" baseline="0" dirty="0"/>
              <a:t> logical read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1526970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2353752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urther Reading: </a:t>
            </a:r>
            <a:r>
              <a:rPr lang="en-US" dirty="0">
                <a:hlinkClick r:id="rId3"/>
              </a:rPr>
              <a:t>SQL Server and Azure SQL index architecture and design guide - SQL Server | Microsoft Learn</a:t>
            </a:r>
            <a:endParaRPr lang="en-US" b="1"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7177249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indent="-171450">
              <a:buFont typeface="Arial" panose="020B0604020202020204" pitchFamily="34" charset="0"/>
              <a:buChar char="•"/>
            </a:pPr>
            <a:r>
              <a:rPr lang="en-US" dirty="0"/>
              <a:t>The primary goal of any indexing strategy is to make queries faster.</a:t>
            </a:r>
          </a:p>
          <a:p>
            <a:pPr marL="171450" indent="-171450">
              <a:buFont typeface="Arial" panose="020B0604020202020204" pitchFamily="34" charset="0"/>
              <a:buChar char="•"/>
            </a:pPr>
            <a:r>
              <a:rPr lang="en-US" dirty="0"/>
              <a:t>Indexes should be present on columns that support the following operations:</a:t>
            </a:r>
          </a:p>
          <a:p>
            <a:pPr lvl="1"/>
            <a:r>
              <a:rPr lang="en-US" dirty="0"/>
              <a:t>Joins</a:t>
            </a:r>
          </a:p>
          <a:p>
            <a:pPr lvl="1"/>
            <a:r>
              <a:rPr lang="en-US" dirty="0"/>
              <a:t>Filtering in the WHERE clause</a:t>
            </a:r>
          </a:p>
          <a:p>
            <a:pPr lvl="1"/>
            <a:r>
              <a:rPr lang="en-US" dirty="0"/>
              <a:t>The ORDER BY clause</a:t>
            </a:r>
          </a:p>
          <a:p>
            <a:endParaRPr lang="en-US" dirty="0"/>
          </a:p>
          <a:p>
            <a:r>
              <a:rPr lang="en-US" dirty="0"/>
              <a:t>=============</a:t>
            </a:r>
          </a:p>
          <a:p>
            <a:r>
              <a:rPr lang="en-US" b="1" dirty="0"/>
              <a:t>More Information</a:t>
            </a:r>
          </a:p>
          <a:p>
            <a:r>
              <a:rPr lang="en-US" dirty="0"/>
              <a:t>=============</a:t>
            </a:r>
          </a:p>
          <a:p>
            <a:endParaRPr lang="en-US" dirty="0"/>
          </a:p>
          <a:p>
            <a:r>
              <a:rPr lang="en-US" dirty="0"/>
              <a:t>This lesson on indexing strategy is, ultimately, about ways in which indexes can be optimized to ensure that logical reads are minimized, and that those reads are sequential rather than random. The techniques discussed are varied, so it is important to keep these goals in mind.</a:t>
            </a:r>
          </a:p>
          <a:p>
            <a:endParaRPr lang="en-US" dirty="0"/>
          </a:p>
          <a:p>
            <a:r>
              <a:rPr lang="en-US" b="1" dirty="0"/>
              <a:t>Best practices for clustered indexes </a:t>
            </a:r>
            <a:r>
              <a:rPr lang="en-US" dirty="0"/>
              <a:t>all support the primary or secondary goals of indexing.  </a:t>
            </a:r>
          </a:p>
          <a:p>
            <a:endParaRPr lang="en-US" dirty="0"/>
          </a:p>
          <a:p>
            <a:r>
              <a:rPr lang="en-US" dirty="0"/>
              <a:t>The </a:t>
            </a:r>
            <a:r>
              <a:rPr lang="en-US" b="1" dirty="0"/>
              <a:t>most critical aspect of clustered index</a:t>
            </a:r>
            <a:r>
              <a:rPr lang="en-US" b="1" baseline="0" dirty="0"/>
              <a:t> design </a:t>
            </a:r>
            <a:r>
              <a:rPr lang="en-US" baseline="0" dirty="0"/>
              <a:t>is to </a:t>
            </a:r>
            <a:r>
              <a:rPr lang="en-US" u="sng" baseline="0" dirty="0"/>
              <a:t>select a column that is the most frequently searched for specific values</a:t>
            </a:r>
            <a:r>
              <a:rPr lang="en-US" u="none" baseline="0" dirty="0"/>
              <a:t>. </a:t>
            </a:r>
            <a:r>
              <a:rPr lang="en-US" baseline="0" dirty="0"/>
              <a:t>By doing so, you help ensure that the most common column used to access the table is how the data is sorted, which avoids key lookups and helps ensure that scans will not be needed.  </a:t>
            </a:r>
          </a:p>
          <a:p>
            <a:r>
              <a:rPr lang="en-US" b="1" baseline="0" dirty="0"/>
              <a:t>Remember that joins are a common way to search for specific values.  </a:t>
            </a:r>
          </a:p>
          <a:p>
            <a:endParaRPr lang="en-US" baseline="0" dirty="0"/>
          </a:p>
          <a:p>
            <a:r>
              <a:rPr lang="en-US" b="1" baseline="0" dirty="0"/>
              <a:t>Use narrow keys to ensure that </a:t>
            </a:r>
            <a:r>
              <a:rPr lang="en-US" b="1" dirty="0"/>
              <a:t>B</a:t>
            </a:r>
            <a:r>
              <a:rPr lang="en-US" b="1" baseline="0" dirty="0"/>
              <a:t>-trees have as few intermediate levels as possible</a:t>
            </a:r>
            <a:r>
              <a:rPr lang="en-US" baseline="0" dirty="0"/>
              <a:t>. </a:t>
            </a:r>
            <a:r>
              <a:rPr lang="en-US" u="sng" baseline="0" dirty="0"/>
              <a:t>This speeds up seeks by reducing the levels of the B-tree that need to be traversed</a:t>
            </a:r>
            <a:r>
              <a:rPr lang="en-US" baseline="0" dirty="0"/>
              <a:t>. This also helps nonclustered index seeks, </a:t>
            </a:r>
            <a:r>
              <a:rPr lang="en-US" dirty="0"/>
              <a:t>because </a:t>
            </a:r>
            <a:r>
              <a:rPr lang="en-US" baseline="0" dirty="0"/>
              <a:t>the clustering key is embedded in the nonclustered index. Another benefit of a narrow clustering key is that the leaf level of nonclustered indexes will store less data per row, which results in fewer pages needed, thereby reducing logical reads when the nonclustered indexes are scanned.</a:t>
            </a:r>
          </a:p>
          <a:p>
            <a:endParaRPr lang="en-US" baseline="0" dirty="0"/>
          </a:p>
          <a:p>
            <a:r>
              <a:rPr lang="en-US" b="1" baseline="0" dirty="0"/>
              <a:t>Clustered indexes have to be unique, whether you define them as such or not. </a:t>
            </a:r>
            <a:r>
              <a:rPr lang="en-US" u="sng" baseline="0" dirty="0"/>
              <a:t>If duplicate values are inserted, Microsoft SQL Server inserts a hidden extra column called a uniquifier</a:t>
            </a:r>
            <a:r>
              <a:rPr lang="en-US" u="none" baseline="0" dirty="0"/>
              <a:t> </a:t>
            </a:r>
            <a:r>
              <a:rPr lang="en-US" baseline="0" dirty="0"/>
              <a:t>– a 4 byte int – in those duplicated rows. </a:t>
            </a:r>
          </a:p>
          <a:p>
            <a:r>
              <a:rPr lang="en-US" baseline="0" dirty="0"/>
              <a:t>This causes the clustering key to be wider, with all the impact just listed above. </a:t>
            </a:r>
            <a:r>
              <a:rPr lang="en-US" b="1" baseline="0" dirty="0"/>
              <a:t>If you have a lot of duplication, consider adding a second column to the clustering key</a:t>
            </a:r>
            <a:r>
              <a:rPr lang="en-US" baseline="0" dirty="0"/>
              <a:t>. </a:t>
            </a:r>
            <a:r>
              <a:rPr lang="en-US" u="sng" baseline="0" dirty="0"/>
              <a:t>You</a:t>
            </a:r>
            <a:r>
              <a:rPr lang="en-US" u="sng" dirty="0"/>
              <a:t> wi</a:t>
            </a:r>
            <a:r>
              <a:rPr lang="en-US" u="sng" baseline="0" dirty="0"/>
              <a:t>ll still have a wider key, but because that column will be embedded in all of the nonclustered indexes, you may be able to cover more queries</a:t>
            </a:r>
            <a:r>
              <a:rPr lang="en-US" u="none" baseline="0" dirty="0"/>
              <a:t>. </a:t>
            </a:r>
            <a:r>
              <a:rPr lang="en-US" baseline="0" dirty="0"/>
              <a:t>If the duplication is minimal, though, adding another column to the key would not be worth it.</a:t>
            </a:r>
          </a:p>
          <a:p>
            <a:endParaRPr lang="en-US" baseline="0" dirty="0"/>
          </a:p>
          <a:p>
            <a:r>
              <a:rPr lang="en-US" b="1" baseline="0" dirty="0"/>
              <a:t>If you cluster on a value that gets updated, SQL Server will have to spend time moving the entire row to new locations</a:t>
            </a:r>
            <a:r>
              <a:rPr lang="en-US" baseline="0" dirty="0"/>
              <a:t>. If the table has 75 columns, that</a:t>
            </a:r>
            <a:r>
              <a:rPr lang="en-US" dirty="0"/>
              <a:t> i</a:t>
            </a:r>
            <a:r>
              <a:rPr lang="en-US" baseline="0" dirty="0"/>
              <a:t>s a lot of movement, which takes time. Also, the movement causes page splits. Page splits cause fragmentation, which affects scans because data cannot be read sequentially.  </a:t>
            </a:r>
          </a:p>
          <a:p>
            <a:r>
              <a:rPr lang="en-US" baseline="0" dirty="0"/>
              <a:t>Clustering on values that are not naturally ascending or descending also increase page splits.  </a:t>
            </a:r>
          </a:p>
          <a:p>
            <a:endParaRPr lang="en-US" baseline="0" dirty="0"/>
          </a:p>
          <a:p>
            <a:r>
              <a:rPr lang="en-US" baseline="0" dirty="0"/>
              <a:t>References </a:t>
            </a:r>
          </a:p>
          <a:p>
            <a:r>
              <a:rPr lang="en-US" dirty="0">
                <a:hlinkClick r:id="rId3"/>
              </a:rPr>
              <a:t>https://docs.microsoft.com/en-us/archive/blogs/josebda/sql-server-2008-indexing-best-practices</a:t>
            </a:r>
            <a:endParaRPr lang="en-US" dirty="0"/>
          </a:p>
          <a:p>
            <a:endParaRPr lang="en-US" baseline="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1097353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rimary keys are involved in joins to foreign keys, which typically means that you are frequently accessing the data via primary key valu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Frequently, clustering on the primary key supports the clustered index best practic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Even if primary key meets all the other best practices, </a:t>
            </a:r>
            <a:r>
              <a:rPr lang="en-US" b="1" dirty="0"/>
              <a:t>if the data is not searched by the primary key</a:t>
            </a:r>
            <a:r>
              <a:rPr lang="en-US" dirty="0"/>
              <a:t>, </a:t>
            </a:r>
            <a:r>
              <a:rPr lang="en-US" b="1" dirty="0"/>
              <a:t>then it is the wrong clustering key.</a:t>
            </a:r>
          </a:p>
          <a:p>
            <a:r>
              <a:rPr lang="en-US" dirty="0"/>
              <a:t>=============</a:t>
            </a:r>
          </a:p>
          <a:p>
            <a:r>
              <a:rPr lang="en-US" b="1" dirty="0"/>
              <a:t>More Information</a:t>
            </a:r>
          </a:p>
          <a:p>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b="1" dirty="0"/>
              <a:t>Many people associate clustering</a:t>
            </a:r>
            <a:r>
              <a:rPr lang="en-US" b="1" baseline="0" dirty="0"/>
              <a:t> keys with primary keys and may not be aware that the two are independent concepts.</a:t>
            </a:r>
          </a:p>
          <a:p>
            <a:pPr marL="381762" lvl="1" indent="-171450">
              <a:buFont typeface="Arial" panose="020B0604020202020204" pitchFamily="34" charset="0"/>
              <a:buChar char="•"/>
            </a:pPr>
            <a:r>
              <a:rPr lang="en-US" baseline="0" dirty="0"/>
              <a:t>A primary key simply ensures that each row is unique. It has nothing to do with the way that the data in a table is sorted.  </a:t>
            </a:r>
          </a:p>
          <a:p>
            <a:pPr marL="381762" lvl="1" indent="-171450">
              <a:buFont typeface="Arial" panose="020B0604020202020204" pitchFamily="34" charset="0"/>
              <a:buChar char="•"/>
            </a:pPr>
            <a:r>
              <a:rPr lang="en-US" baseline="0" dirty="0"/>
              <a:t>Because they are independent, it is not a requirement that the same key(s) be used for both.  </a:t>
            </a:r>
          </a:p>
          <a:p>
            <a:pPr marL="381762" lvl="1" indent="-171450">
              <a:buFont typeface="Arial" panose="020B0604020202020204" pitchFamily="34" charset="0"/>
              <a:buChar char="•"/>
            </a:pPr>
            <a:r>
              <a:rPr lang="en-US" baseline="0" dirty="0"/>
              <a:t>So, </a:t>
            </a:r>
            <a:r>
              <a:rPr lang="en-US" b="1" baseline="0" dirty="0"/>
              <a:t>why is it such a common practice</a:t>
            </a:r>
            <a:r>
              <a:rPr lang="en-US" baseline="0" dirty="0"/>
              <a:t>? </a:t>
            </a:r>
          </a:p>
          <a:p>
            <a:pPr marL="381762" lvl="1" indent="-171450">
              <a:buFont typeface="Arial" panose="020B0604020202020204" pitchFamily="34" charset="0"/>
              <a:buChar char="•"/>
            </a:pPr>
            <a:r>
              <a:rPr lang="en-US" baseline="0" dirty="0"/>
              <a:t>The answer is that a lot of the time, it makes a lot of sense. </a:t>
            </a:r>
            <a:r>
              <a:rPr lang="en-US" b="1" baseline="0" dirty="0"/>
              <a:t>Primary keys satisfy a lot of clustered index best practices.</a:t>
            </a:r>
          </a:p>
          <a:p>
            <a:pPr marL="381762" lvl="1" indent="-171450">
              <a:buFont typeface="Arial" panose="020B0604020202020204" pitchFamily="34" charset="0"/>
              <a:buChar char="•"/>
            </a:pPr>
            <a:r>
              <a:rPr lang="en-US" baseline="0" dirty="0"/>
              <a:t>In a one-to-many child table, you would typically use </a:t>
            </a:r>
            <a:r>
              <a:rPr lang="en-US" b="1" baseline="0" dirty="0" err="1"/>
              <a:t>parent_id</a:t>
            </a:r>
            <a:r>
              <a:rPr lang="en-US" b="1" baseline="0" dirty="0"/>
              <a:t>, </a:t>
            </a:r>
            <a:r>
              <a:rPr lang="en-US" b="1" baseline="0" dirty="0" err="1"/>
              <a:t>child_id</a:t>
            </a:r>
            <a:r>
              <a:rPr lang="en-US" b="0" baseline="0" dirty="0"/>
              <a:t>.</a:t>
            </a:r>
          </a:p>
          <a:p>
            <a:pPr marL="171450" indent="-171450">
              <a:buFont typeface="Arial" panose="020B0604020202020204" pitchFamily="34" charset="0"/>
              <a:buChar char="•"/>
            </a:pPr>
            <a:endParaRPr lang="en-US" b="1" baseline="0" dirty="0"/>
          </a:p>
          <a:p>
            <a:pPr marL="0" indent="0">
              <a:buFont typeface="Arial" panose="020B0604020202020204" pitchFamily="34" charset="0"/>
              <a:buNone/>
            </a:pPr>
            <a:r>
              <a:rPr lang="en-US" b="1" dirty="0"/>
              <a:t>Do not cluster on the Primary key</a:t>
            </a:r>
            <a:endParaRPr lang="en-US" b="1" baseline="0" dirty="0"/>
          </a:p>
          <a:p>
            <a:pPr marL="381762" marR="0" lvl="1" indent="-171450" algn="l" defTabSz="932742" rtl="0" eaLnBrk="1" fontAlgn="auto" latinLnBrk="0" hangingPunct="1">
              <a:lnSpc>
                <a:spcPct val="90000"/>
              </a:lnSpc>
              <a:spcBef>
                <a:spcPts val="0"/>
              </a:spcBef>
              <a:spcAft>
                <a:spcPts val="340"/>
              </a:spcAft>
              <a:buClrTx/>
              <a:buSzTx/>
              <a:tabLst/>
              <a:defRPr/>
            </a:pPr>
            <a:r>
              <a:rPr lang="en-US" dirty="0"/>
              <a:t>This is a common</a:t>
            </a:r>
            <a:r>
              <a:rPr lang="en-US" baseline="0" dirty="0"/>
              <a:t> problem with association tables and child tables in a one-to-many relationship, in which the typical access is via the parent table’s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dirty="0"/>
              <a:t>If usage stats DMV show little to no index seeks on the clustered key, but a large number of index seeks on the parent ID with key lookups on the clustered index, that</a:t>
            </a:r>
            <a:r>
              <a:rPr lang="en-US" dirty="0"/>
              <a:t> is </a:t>
            </a:r>
            <a:r>
              <a:rPr lang="en-US" baseline="0" dirty="0"/>
              <a:t>a sign that the clustered key may need to change to the parent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dirty="0"/>
              <a:t>The parent ID is a good choice not only because it is the primary access path to the table. It is also typically ascending, so the rate of fragmentation is likely to be reasonably low. </a:t>
            </a:r>
          </a:p>
          <a:p>
            <a:pPr marL="381762" marR="0" lvl="1" indent="-171450" algn="l" defTabSz="932742" rtl="0" eaLnBrk="1" fontAlgn="auto" latinLnBrk="0" hangingPunct="1">
              <a:lnSpc>
                <a:spcPct val="90000"/>
              </a:lnSpc>
              <a:spcBef>
                <a:spcPts val="0"/>
              </a:spcBef>
              <a:spcAft>
                <a:spcPts val="340"/>
              </a:spcAft>
              <a:buClrTx/>
              <a:buSzTx/>
              <a:tabLst/>
              <a:defRPr/>
            </a:pPr>
            <a:r>
              <a:rPr lang="en-US" b="1" baseline="0" dirty="0"/>
              <a:t>It often will not be unique, so adding a second column to guarantee uniqueness may be a good idea</a:t>
            </a:r>
            <a:r>
              <a:rPr lang="en-US" baseline="0" dirty="0"/>
              <a:t>. In an association table, creating a clustered index on parent1_id, parent2_id works well. </a:t>
            </a:r>
          </a:p>
          <a:p>
            <a:pPr marL="210312" marR="0" lvl="1" indent="0" algn="l" defTabSz="932742" rtl="0" eaLnBrk="1" fontAlgn="auto" latinLnBrk="0" hangingPunct="1">
              <a:lnSpc>
                <a:spcPct val="90000"/>
              </a:lnSpc>
              <a:spcBef>
                <a:spcPts val="0"/>
              </a:spcBef>
              <a:spcAft>
                <a:spcPts val="340"/>
              </a:spcAft>
              <a:buClrTx/>
              <a:buSzTx/>
              <a:buNone/>
              <a:tabLst/>
              <a:defRPr/>
            </a:pPr>
            <a:endParaRPr lang="en-US" dirty="0"/>
          </a:p>
          <a:p>
            <a:pPr marL="381762" lvl="1" indent="-171450">
              <a:buFont typeface="Arial" panose="020B0604020202020204" pitchFamily="34" charset="0"/>
              <a:buChar char="•"/>
            </a:pPr>
            <a:endParaRPr lang="en-US" b="1" dirty="0"/>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3175889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Index columns used in </a:t>
            </a:r>
            <a:r>
              <a:rPr lang="en-US" b="1" dirty="0"/>
              <a:t>WHERE</a:t>
            </a:r>
            <a:r>
              <a:rPr lang="en-US" dirty="0"/>
              <a:t> clauses and </a:t>
            </a:r>
            <a:r>
              <a:rPr lang="en-US" b="1" dirty="0"/>
              <a:t>JOINs</a:t>
            </a:r>
          </a:p>
          <a:p>
            <a:pPr lvl="2"/>
            <a:r>
              <a:rPr lang="en-US" sz="3200" dirty="0"/>
              <a:t>Start with foreign keys, and remove later if not used</a:t>
            </a:r>
            <a:endParaRPr lang="en-US" dirty="0"/>
          </a:p>
          <a:p>
            <a:endParaRPr lang="en-US" dirty="0"/>
          </a:p>
          <a:p>
            <a:r>
              <a:rPr lang="en-US" dirty="0"/>
              <a:t>This strategy</a:t>
            </a:r>
            <a:r>
              <a:rPr lang="en-US" baseline="0" dirty="0"/>
              <a:t> is easy for nonclustered indexes, for any single query.  </a:t>
            </a:r>
            <a:r>
              <a:rPr lang="en-US" b="1" baseline="0" dirty="0"/>
              <a:t>Build an index to support joins and WHERE clauses</a:t>
            </a:r>
            <a:r>
              <a:rPr lang="en-US" baseline="0" dirty="0"/>
              <a:t>, and you</a:t>
            </a:r>
            <a:r>
              <a:rPr lang="en-US" dirty="0"/>
              <a:t> ar</a:t>
            </a:r>
            <a:r>
              <a:rPr lang="en-US" baseline="0" dirty="0"/>
              <a:t>e done. The challenge comes when you need to address indexing a table with a lot of different queries used against it, each of which may filter on different combinations of columns. </a:t>
            </a:r>
          </a:p>
          <a:p>
            <a:r>
              <a:rPr lang="en-US" b="1" baseline="0" dirty="0"/>
              <a:t>You cannot</a:t>
            </a:r>
            <a:r>
              <a:rPr lang="en-US" b="1" dirty="0"/>
              <a:t> </a:t>
            </a:r>
            <a:r>
              <a:rPr lang="en-US" b="1" baseline="0" dirty="0"/>
              <a:t>build specific indexes for every combination of fields that may ever be used, because:</a:t>
            </a:r>
          </a:p>
          <a:p>
            <a:pPr marL="381762" lvl="1" indent="-171450">
              <a:buFont typeface="Arial" panose="020B0604020202020204" pitchFamily="34" charset="0"/>
              <a:buChar char="•"/>
            </a:pPr>
            <a:r>
              <a:rPr lang="en-US" baseline="0" dirty="0"/>
              <a:t>Of storage issues.</a:t>
            </a:r>
          </a:p>
          <a:p>
            <a:pPr marL="381762" lvl="1" indent="-171450">
              <a:buFont typeface="Arial" panose="020B0604020202020204" pitchFamily="34" charset="0"/>
              <a:buChar char="•"/>
            </a:pPr>
            <a:r>
              <a:rPr lang="en-US" dirty="0"/>
              <a:t>A </a:t>
            </a:r>
            <a:r>
              <a:rPr lang="en-US" baseline="0" dirty="0"/>
              <a:t>lot of nonclustered indexes would impact DML.</a:t>
            </a:r>
          </a:p>
          <a:p>
            <a:pPr marL="381762" lvl="1" indent="-171450">
              <a:buFont typeface="Arial" panose="020B0604020202020204" pitchFamily="34" charset="0"/>
              <a:buChar char="•"/>
            </a:pPr>
            <a:r>
              <a:rPr lang="en-US" dirty="0"/>
              <a:t>Of </a:t>
            </a:r>
            <a:r>
              <a:rPr lang="en-US" baseline="0" dirty="0"/>
              <a:t>the increased maintenance overhead.  </a:t>
            </a:r>
          </a:p>
          <a:p>
            <a:r>
              <a:rPr lang="en-US" dirty="0"/>
              <a:t>=============</a:t>
            </a:r>
          </a:p>
          <a:p>
            <a:r>
              <a:rPr lang="en-US" b="1" dirty="0"/>
              <a:t>More Information</a:t>
            </a:r>
          </a:p>
          <a:p>
            <a:r>
              <a:rPr lang="en-US" dirty="0"/>
              <a:t>=============</a:t>
            </a:r>
          </a:p>
          <a:p>
            <a:endParaRPr lang="en-US" baseline="0" dirty="0"/>
          </a:p>
          <a:p>
            <a:r>
              <a:rPr lang="en-US" baseline="0" dirty="0"/>
              <a:t>Deciding on an indexing strategy is never easy and is never a one-time effort. </a:t>
            </a:r>
          </a:p>
          <a:p>
            <a:r>
              <a:rPr lang="en-US" baseline="0" dirty="0"/>
              <a:t>The queries against a table change over time, and therefore, indexing strategies have to be reviewed and adjusted as need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deally, the first column</a:t>
            </a:r>
            <a:r>
              <a:rPr lang="en-US" baseline="0" dirty="0"/>
              <a:t> in a multi-column index will be used in every query. However,</a:t>
            </a:r>
            <a:r>
              <a:rPr lang="en-US" dirty="0"/>
              <a:t> that is</a:t>
            </a:r>
            <a:r>
              <a:rPr lang="en-US" baseline="0" dirty="0"/>
              <a:t> not likely to happe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One solution is to create every possible combination of indexes, but that will not sca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ven</a:t>
            </a:r>
            <a:r>
              <a:rPr lang="en-US" baseline="0" dirty="0"/>
              <a:t> though index scans are not as efficient as seeks, the fact is that nonclustered indexes only have a few columns</a:t>
            </a:r>
            <a:r>
              <a:rPr lang="en-US" dirty="0"/>
              <a:t> as </a:t>
            </a:r>
            <a:r>
              <a:rPr lang="en-US" baseline="0" dirty="0"/>
              <a:t>compared to the clustered index,</a:t>
            </a:r>
            <a:r>
              <a:rPr lang="en-US" dirty="0"/>
              <a:t> </a:t>
            </a:r>
            <a:r>
              <a:rPr lang="en-US" baseline="0" dirty="0"/>
              <a:t>which could have dozens of column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means that scanning a nonclustered index to find records may result in acceptable query performance.  </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deally the focus should be on writing queries to use existing indexes, rather than on adding more index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58299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1311387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647439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3719157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12436059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2/1/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900" b="0" dirty="0"/>
              <a:t>E:\Demos\05_Indexing_Strategy\</a:t>
            </a:r>
            <a:r>
              <a:rPr lang="en-US" sz="1000" b="0" i="1" noProof="1">
                <a:solidFill>
                  <a:prstClr val="black"/>
                </a:solidFill>
                <a:latin typeface="Segoe UI Light" pitchFamily="34" charset="0"/>
              </a:rPr>
              <a:t>NCI_Covering_Includes</a:t>
            </a:r>
            <a:endParaRPr lang="en-US" sz="1000" i="1"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087199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Single Column Index: If the columns to be indexed have a lot of distinct values</a:t>
            </a:r>
            <a:r>
              <a:rPr lang="en-US" b="1" baseline="0" dirty="0"/>
              <a:t> (and so return a small </a:t>
            </a:r>
            <a:r>
              <a:rPr lang="en-US" b="1" baseline="0" dirty="0" err="1"/>
              <a:t>rowset</a:t>
            </a:r>
            <a:r>
              <a:rPr lang="en-US" b="1" baseline="0" dirty="0"/>
              <a:t> for any one value that is searched), then creating separate, single-column indexes works well</a:t>
            </a:r>
            <a:r>
              <a:rPr lang="en-US" baseline="0" dirty="0"/>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However, if SQL has to pull large amounts of data from the single-column indexes</a:t>
            </a:r>
            <a:r>
              <a:rPr lang="en-US" u="sng" baseline="0" dirty="0"/>
              <a:t>, </a:t>
            </a:r>
            <a:r>
              <a:rPr lang="en-US" b="1" u="sng" baseline="0" dirty="0"/>
              <a:t>that</a:t>
            </a:r>
            <a:r>
              <a:rPr lang="en-US" b="1" u="sng" dirty="0"/>
              <a:t> i</a:t>
            </a:r>
            <a:r>
              <a:rPr lang="en-US" b="1" u="sng" baseline="0" dirty="0"/>
              <a:t>s going to involve a lot of logical reads</a:t>
            </a:r>
            <a:r>
              <a:rPr lang="en-US" u="sng" baseline="0" dirty="0"/>
              <a:t>, even If SQL Server ends up returning a small </a:t>
            </a:r>
            <a:r>
              <a:rPr lang="en-US" u="sng" baseline="0" dirty="0" err="1"/>
              <a:t>rowset</a:t>
            </a:r>
            <a:r>
              <a:rPr lang="en-US" u="none" baseline="0" dirty="0"/>
              <a:t>.</a:t>
            </a:r>
            <a:r>
              <a:rPr lang="en-US" u="sng" baseline="0" dirty="0"/>
              <a:t> </a:t>
            </a:r>
            <a:endParaRPr lang="en-US" baseline="0"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a:t>Multi-column Index:  </a:t>
            </a:r>
            <a:r>
              <a:rPr lang="en-US" b="1" dirty="0"/>
              <a:t>if the</a:t>
            </a:r>
            <a:r>
              <a:rPr lang="en-US" b="1" baseline="0" dirty="0"/>
              <a:t> final </a:t>
            </a:r>
            <a:r>
              <a:rPr lang="en-US" b="1" baseline="0" dirty="0" err="1"/>
              <a:t>rowset</a:t>
            </a:r>
            <a:r>
              <a:rPr lang="en-US" b="1" baseline="0" dirty="0"/>
              <a:t> of </a:t>
            </a:r>
            <a:r>
              <a:rPr lang="en-US" b="1" u="sng" baseline="0" dirty="0"/>
              <a:t>2 or more low cardinality fields is a small result set</a:t>
            </a:r>
            <a:r>
              <a:rPr lang="en-US" b="1" baseline="0" dirty="0"/>
              <a:t>, then having a single multi-column index may significantly reduce the total logical reads and the processing time, </a:t>
            </a:r>
            <a:r>
              <a:rPr lang="en-US" baseline="0" dirty="0"/>
              <a:t>because SQL Server does</a:t>
            </a:r>
            <a:r>
              <a:rPr lang="en-US" dirty="0"/>
              <a:t> not </a:t>
            </a:r>
            <a:r>
              <a:rPr lang="en-US" baseline="0" dirty="0"/>
              <a:t>have to read 2 large result sets independently, and then join the results together. It can reduce </a:t>
            </a:r>
            <a:r>
              <a:rPr lang="en-US" b="1" baseline="0" dirty="0"/>
              <a:t>CPU or memory costs</a:t>
            </a:r>
            <a:r>
              <a:rPr lang="en-US" b="0" baseline="0" dirty="0"/>
              <a:t>.</a:t>
            </a:r>
          </a:p>
          <a:p>
            <a:pPr marL="784098" marR="0" lvl="6" indent="-171450" algn="l" defTabSz="914400" rtl="0" eaLnBrk="1" fontAlgn="auto" latinLnBrk="0" hangingPunct="1">
              <a:lnSpc>
                <a:spcPct val="90000"/>
              </a:lnSpc>
              <a:spcBef>
                <a:spcPts val="333"/>
              </a:spcBef>
              <a:spcAft>
                <a:spcPts val="0"/>
              </a:spcAft>
              <a:buClrTx/>
              <a:buSzTx/>
              <a:tabLst/>
              <a:defRPr/>
            </a:pPr>
            <a:r>
              <a:rPr lang="en-US" sz="1000" kern="1200" baseline="0" dirty="0">
                <a:solidFill>
                  <a:schemeClr val="tx1"/>
                </a:solidFill>
                <a:latin typeface="+mn-lt"/>
                <a:ea typeface="+mn-ea"/>
                <a:cs typeface="+mn-cs"/>
              </a:rPr>
              <a:t>The cardinality of all the columns together is higher than any one column alone</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1" baseline="0" dirty="0"/>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However, </a:t>
            </a:r>
            <a:r>
              <a:rPr lang="en-US" u="sng" baseline="0" dirty="0"/>
              <a:t>multi-column indexing has a couple of challenges.</a:t>
            </a:r>
            <a:r>
              <a:rPr lang="en-US" baseline="0" dirty="0"/>
              <a:t> </a:t>
            </a:r>
            <a:r>
              <a:rPr lang="en-US" b="1" baseline="0" dirty="0"/>
              <a:t>First</a:t>
            </a:r>
            <a:r>
              <a:rPr lang="en-US" baseline="0" dirty="0"/>
              <a:t>, </a:t>
            </a:r>
            <a:r>
              <a:rPr lang="en-US" b="1" baseline="0" dirty="0"/>
              <a:t>you need to choose column order</a:t>
            </a:r>
            <a:r>
              <a:rPr lang="en-US" baseline="0" dirty="0"/>
              <a:t>. </a:t>
            </a:r>
            <a:r>
              <a:rPr lang="en-US" u="sng" baseline="0" dirty="0"/>
              <a:t>SQL Server traverses the B-Tree based on the order specified</a:t>
            </a:r>
            <a:r>
              <a:rPr lang="en-US" dirty="0"/>
              <a:t>. Therefore</a:t>
            </a:r>
            <a:r>
              <a:rPr lang="en-US" baseline="0" dirty="0"/>
              <a:t>, indexes on Col1, Col2, and Col2, Col1 are not equivalent. This</a:t>
            </a:r>
            <a:r>
              <a:rPr lang="en-US" dirty="0"/>
              <a:t> means that</a:t>
            </a:r>
            <a:r>
              <a:rPr lang="en-US" baseline="0" dirty="0"/>
              <a:t> you can end up wanting to create a bunch of differen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 multi-column indexes, which</a:t>
            </a:r>
            <a:r>
              <a:rPr lang="en-US" dirty="0"/>
              <a:t> will not </a:t>
            </a:r>
            <a:r>
              <a:rPr lang="en-US" baseline="0" dirty="0"/>
              <a:t>scale well.  </a:t>
            </a:r>
          </a:p>
          <a:p>
            <a:r>
              <a:rPr lang="en-US" dirty="0"/>
              <a:t>=============</a:t>
            </a:r>
          </a:p>
          <a:p>
            <a:r>
              <a:rPr lang="en-US" b="1" dirty="0"/>
              <a:t>More Information</a:t>
            </a:r>
          </a:p>
          <a:p>
            <a:r>
              <a:rPr lang="en-US" dirty="0"/>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aseline="0" dirty="0"/>
          </a:p>
          <a:p>
            <a:endParaRPr lang="en-US" dirty="0"/>
          </a:p>
          <a:p>
            <a:pPr marL="228600" indent="-228600">
              <a:buFont typeface="+mj-lt"/>
              <a:buAutoNum type="arabicPeriod"/>
            </a:pPr>
            <a:r>
              <a:rPr lang="en-US" b="1" dirty="0"/>
              <a:t>Single Column Index</a:t>
            </a:r>
            <a:r>
              <a:rPr lang="en-US" dirty="0"/>
              <a:t>:</a:t>
            </a:r>
          </a:p>
          <a:p>
            <a:pPr lvl="1"/>
            <a:r>
              <a:rPr lang="en-US" dirty="0"/>
              <a:t>The idea behind single column</a:t>
            </a:r>
            <a:r>
              <a:rPr lang="en-US" baseline="0" dirty="0"/>
              <a:t> indexing approaches is that SQL Server can satisfy filters against multiple columns by searching each index separately, and then joining the results together to get the rows that satisfy all the filters.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As an example, imagine that you have 100 million orders, and you have 3 payment types (case, check, and charge) and 2 order types (online</a:t>
            </a:r>
            <a:r>
              <a:rPr lang="en-US" dirty="0"/>
              <a:t> and </a:t>
            </a:r>
            <a:r>
              <a:rPr lang="en-US" baseline="0" dirty="0"/>
              <a:t>in store).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 If you have separate indexes for each column, then SQL Server needs to retrieve approximately 33 million rows that match the payment type filter, and 50 million rows to match the order type filter. That</a:t>
            </a:r>
            <a:r>
              <a:rPr lang="en-US" dirty="0"/>
              <a:t> i</a:t>
            </a:r>
            <a:r>
              <a:rPr lang="en-US" baseline="0" dirty="0"/>
              <a:t>s a lot of logical I/O for eac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Then, SQL has to merge those result sets together, and this takes a lot of CPU and memory to return the 10 million rows that match bot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In such a</a:t>
            </a:r>
            <a:r>
              <a:rPr lang="en-US" dirty="0"/>
              <a:t> </a:t>
            </a:r>
            <a:r>
              <a:rPr lang="en-US" baseline="0" dirty="0"/>
              <a:t>situation, you</a:t>
            </a:r>
            <a:r>
              <a:rPr lang="en-US" dirty="0"/>
              <a:t> would</a:t>
            </a:r>
            <a:r>
              <a:rPr lang="en-US" baseline="0" dirty="0"/>
              <a:t> be better off with a multi-column index.</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1" baseline="0" dirty="0"/>
              <a:t>Multi Column Index</a:t>
            </a:r>
            <a:r>
              <a:rPr lang="en-US" baseline="0" dirty="0"/>
              <a:t>:</a:t>
            </a:r>
          </a:p>
          <a:p>
            <a:pPr lvl="1"/>
            <a:r>
              <a:rPr lang="en-US" baseline="0" dirty="0"/>
              <a:t>Continuing the example from the previous slide, </a:t>
            </a:r>
            <a:r>
              <a:rPr lang="en-US" b="1" baseline="0" dirty="0"/>
              <a:t>if a 2-column index is created on payment type and order type, SQL Server is still going to have a lot of I/O</a:t>
            </a:r>
            <a:r>
              <a:rPr lang="en-US" baseline="0" dirty="0"/>
              <a:t>.  When you</a:t>
            </a:r>
            <a:r>
              <a:rPr lang="en-US" dirty="0"/>
              <a:t> ar</a:t>
            </a:r>
            <a:r>
              <a:rPr lang="en-US" baseline="0" dirty="0"/>
              <a:t>e getting 10 million rows, that</a:t>
            </a:r>
            <a:r>
              <a:rPr lang="en-US" dirty="0"/>
              <a:t> i</a:t>
            </a:r>
            <a:r>
              <a:rPr lang="en-US" baseline="0" dirty="0"/>
              <a:t>s inevitable.  </a:t>
            </a:r>
          </a:p>
          <a:p>
            <a:pPr lvl="1"/>
            <a:r>
              <a:rPr lang="en-US" baseline="0" dirty="0"/>
              <a:t>However, now SQL Server can find the matching rows in a single pass of 1 index, </a:t>
            </a:r>
            <a:r>
              <a:rPr lang="en-US" b="1" baseline="0" dirty="0"/>
              <a:t>meaning that you have a smaller number of logical reads </a:t>
            </a:r>
            <a:r>
              <a:rPr lang="en-US" baseline="0" dirty="0"/>
              <a:t>(reads to find the 10 million rows, rather than the reads to find 33 million and 50 million rows) and </a:t>
            </a:r>
            <a:r>
              <a:rPr lang="en-US" b="1" baseline="0" dirty="0"/>
              <a:t>you have no need to merge result sets together</a:t>
            </a:r>
            <a:r>
              <a:rPr lang="en-US" baseline="0" dirty="0"/>
              <a:t>.  </a:t>
            </a:r>
          </a:p>
          <a:p>
            <a:pPr lvl="1"/>
            <a:r>
              <a:rPr lang="en-US" baseline="0" dirty="0"/>
              <a:t>Therefore, </a:t>
            </a:r>
            <a:r>
              <a:rPr lang="en-US" b="1" baseline="0" dirty="0"/>
              <a:t>there are no</a:t>
            </a:r>
            <a:r>
              <a:rPr lang="en-US" b="1" dirty="0"/>
              <a:t> </a:t>
            </a:r>
            <a:r>
              <a:rPr lang="en-US" b="1" baseline="0" dirty="0"/>
              <a:t>CPU or memory costs</a:t>
            </a:r>
            <a:r>
              <a:rPr lang="en-US" baseline="0" dirty="0"/>
              <a:t>. Is this a fast query? Probably not.  Is it faster and less resource-intensive than the single-column approach? Definitely.</a:t>
            </a:r>
          </a:p>
          <a:p>
            <a:pPr lvl="1"/>
            <a:endParaRPr lang="en-US" baseline="0" dirty="0"/>
          </a:p>
          <a:p>
            <a:pPr marL="210312" marR="0" lvl="1"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320503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5457990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595924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628252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2/1/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s.</a:t>
            </a:r>
          </a:p>
          <a:p>
            <a:r>
              <a:rPr lang="en-US" sz="800" b="0" dirty="0"/>
              <a:t>E:\Demos\05_Indexing_Strategy\</a:t>
            </a:r>
            <a:r>
              <a:rPr lang="en-US" sz="900" b="0" i="1" noProof="1">
                <a:solidFill>
                  <a:prstClr val="black"/>
                </a:solidFill>
                <a:latin typeface="Segoe UI Light" pitchFamily="34" charset="0"/>
              </a:rPr>
              <a:t>NCI_Column_Order</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562410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05903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New demonstration needs created. </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446069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Understanding</a:t>
            </a:r>
            <a:r>
              <a:rPr lang="en-US" baseline="0" dirty="0"/>
              <a:t> how indexes are used can help adjust indexing approaches in several way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indexes that are not used, and be able to drop or disable them.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clustered indexes that are scanned instead of sought, which could be fixed by adjusting the query.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indexes that are used only at month end, and add them just when needed to reduce the impact on DML and index maintenance.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a:t>Sys.dm_db_index_usage_stats </a:t>
            </a:r>
            <a:r>
              <a:rPr lang="en-US" sz="882" b="0" i="0" kern="1200" baseline="0" dirty="0">
                <a:solidFill>
                  <a:schemeClr val="tx1"/>
                </a:solidFill>
                <a:effectLst/>
                <a:latin typeface="+mn-lt"/>
                <a:ea typeface="+mn-ea"/>
                <a:cs typeface="+mn-cs"/>
              </a:rPr>
              <a:t>gives information about overall access methods to your index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err="1">
                <a:solidFill>
                  <a:schemeClr val="tx1"/>
                </a:solidFill>
                <a:effectLst/>
                <a:latin typeface="+mn-lt"/>
                <a:ea typeface="+mn-ea"/>
                <a:cs typeface="+mn-cs"/>
              </a:rPr>
              <a:t>sys.dm_db_index_physical_stats</a:t>
            </a:r>
            <a:r>
              <a:rPr lang="en-US" sz="882" b="1"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rPr>
              <a:t>DMF returns information about the lower-level I/O activities, like INSERT, UPDATE and DELETE operations, occurred on the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Database Reports </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dirty="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dirty="0">
                <a:solidFill>
                  <a:schemeClr val="tx1"/>
                </a:solidFill>
                <a:effectLst/>
                <a:latin typeface="+mn-lt"/>
                <a:ea typeface="+mn-ea"/>
                <a:cs typeface="+mn-cs"/>
              </a:rPr>
              <a:t>References: </a:t>
            </a:r>
            <a:r>
              <a:rPr lang="en-US" dirty="0">
                <a:hlinkClick r:id="rId3"/>
              </a:rPr>
              <a:t>https://docs.microsoft.com/en-us/sql/relational-databases/system-dynamic-management-views/sys-dm-db-index-usage-stats-transact-sql?redirectedfrom=MSDN&amp;view=sql-server-ver15</a:t>
            </a:r>
            <a:endParaRPr lang="en-US" baseline="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27393569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a:t>Sys.dm_db_index_usage_stats </a:t>
            </a:r>
            <a:r>
              <a:rPr lang="en-US" sz="882" b="0" i="0" kern="1200" baseline="0" dirty="0">
                <a:solidFill>
                  <a:schemeClr val="tx1"/>
                </a:solidFill>
                <a:effectLst/>
                <a:latin typeface="+mn-lt"/>
                <a:ea typeface="+mn-ea"/>
                <a:cs typeface="+mn-cs"/>
              </a:rPr>
              <a:t>gives information about overall access methods to your indexe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The </a:t>
            </a:r>
            <a:r>
              <a:rPr lang="en-US" sz="882" b="1" i="0" kern="1200" baseline="0" dirty="0" err="1">
                <a:solidFill>
                  <a:schemeClr val="tx1"/>
                </a:solidFill>
                <a:effectLst/>
                <a:latin typeface="+mn-lt"/>
                <a:ea typeface="+mn-ea"/>
                <a:cs typeface="+mn-cs"/>
              </a:rPr>
              <a:t>user_updates</a:t>
            </a:r>
            <a:r>
              <a:rPr lang="en-US" sz="882" b="0" i="0" kern="1200" baseline="0" dirty="0">
                <a:solidFill>
                  <a:schemeClr val="tx1"/>
                </a:solidFill>
                <a:effectLst/>
                <a:latin typeface="+mn-lt"/>
                <a:ea typeface="+mn-ea"/>
                <a:cs typeface="+mn-cs"/>
              </a:rPr>
              <a:t> counter indicates the level of maintenance on the index caused by insert, update, or delete operations on the underlying table or view.</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Whenever a database is detached or is shut down (for example, because AUTO_CLOSE is set to ON), all rows associated with the database are removed.</a:t>
            </a:r>
          </a:p>
          <a:p>
            <a:r>
              <a:rPr lang="en-US" dirty="0"/>
              <a:t>=============</a:t>
            </a:r>
          </a:p>
          <a:p>
            <a:r>
              <a:rPr lang="en-US" b="1" dirty="0"/>
              <a:t>More Information</a:t>
            </a:r>
          </a:p>
          <a:p>
            <a:r>
              <a:rPr lang="en-US" dirty="0"/>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1" i="0" kern="1200" baseline="0" dirty="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sys.dm_db_index_usage_stats</a:t>
            </a:r>
            <a:r>
              <a:rPr lang="en-US" sz="882" b="0" i="0" kern="1200" baseline="0" dirty="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dirty="0" err="1">
                <a:solidFill>
                  <a:schemeClr val="tx1"/>
                </a:solidFill>
                <a:effectLst/>
                <a:latin typeface="+mn-lt"/>
                <a:ea typeface="+mn-ea"/>
                <a:cs typeface="+mn-cs"/>
                <a:hlinkClick r:id="rId3"/>
              </a:rPr>
              <a:t>sys.dm_db_xtp_index_stats</a:t>
            </a:r>
            <a:r>
              <a:rPr lang="en-US" sz="882" b="1" i="0" u="sng" kern="1200" baseline="0" dirty="0">
                <a:solidFill>
                  <a:schemeClr val="tx1"/>
                </a:solidFill>
                <a:effectLst/>
                <a:latin typeface="+mn-lt"/>
                <a:ea typeface="+mn-ea"/>
                <a:cs typeface="+mn-cs"/>
                <a:hlinkClick r:id="rId3"/>
              </a:rPr>
              <a:t> (Transact-SQL)</a:t>
            </a:r>
            <a:r>
              <a:rPr lang="en-US" sz="882" b="0" i="0" kern="1200" baseline="0" dirty="0">
                <a:solidFill>
                  <a:schemeClr val="tx1"/>
                </a:solidFill>
                <a:effectLst/>
                <a:latin typeface="+mn-lt"/>
                <a:ea typeface="+mn-ea"/>
                <a:cs typeface="+mn-cs"/>
              </a:rPr>
              <a:t>.</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To call this view from </a:t>
            </a:r>
            <a:r>
              <a:rPr lang="en-US" sz="882" b="1" i="0" kern="1200" baseline="0" dirty="0">
                <a:solidFill>
                  <a:schemeClr val="tx1"/>
                </a:solidFill>
                <a:effectLst/>
                <a:latin typeface="+mn-lt"/>
                <a:ea typeface="+mn-ea"/>
                <a:cs typeface="+mn-cs"/>
              </a:rPr>
              <a:t>Azure Synapse Analytics (SQL DW) </a:t>
            </a:r>
            <a:r>
              <a:rPr lang="en-US" sz="882" b="0" i="0" kern="1200" baseline="0" dirty="0">
                <a:solidFill>
                  <a:schemeClr val="tx1"/>
                </a:solidFill>
                <a:effectLst/>
                <a:latin typeface="+mn-lt"/>
                <a:ea typeface="+mn-ea"/>
                <a:cs typeface="+mn-cs"/>
              </a:rPr>
              <a:t>or Parallel Data Warehouse, use </a:t>
            </a:r>
            <a:r>
              <a:rPr lang="en-US" sz="882" b="1" i="0" kern="1200" baseline="0" dirty="0" err="1">
                <a:solidFill>
                  <a:schemeClr val="tx1"/>
                </a:solidFill>
                <a:effectLst/>
                <a:latin typeface="+mn-lt"/>
                <a:ea typeface="+mn-ea"/>
                <a:cs typeface="+mn-cs"/>
              </a:rPr>
              <a:t>sys.dm_pdw_nodes_db_index_usage_stats</a:t>
            </a:r>
            <a:r>
              <a:rPr lang="en-US" sz="882" b="0" i="0" kern="1200" baseline="0" dirty="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dirty="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dirty="0">
                <a:solidFill>
                  <a:schemeClr val="tx1"/>
                </a:solidFill>
                <a:effectLst/>
                <a:latin typeface="+mn-lt"/>
                <a:ea typeface="+mn-ea"/>
                <a:cs typeface="+mn-cs"/>
              </a:rPr>
              <a:t>References: </a:t>
            </a:r>
            <a:r>
              <a:rPr lang="en-US" dirty="0">
                <a:hlinkClick r:id="rId4"/>
              </a:rPr>
              <a:t>https://docs.microsoft.com/en-us/sql/relational-databases/system-dynamic-management-views/sys-dm-db-index-usage-stats-transact-sql?redirectedfrom=MSDN&amp;view=sql-server-ver15</a:t>
            </a:r>
            <a:endParaRPr lang="en-US" baseline="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39145913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900" b="1" dirty="0"/>
              <a:t>Consider demonstrating SQL demo file.</a:t>
            </a:r>
          </a:p>
          <a:p>
            <a:r>
              <a:rPr lang="en-US" sz="900" b="0" dirty="0"/>
              <a:t>E:\Demos\05_Indexing_Strategy\</a:t>
            </a:r>
            <a:r>
              <a:rPr lang="en-US" sz="1000" b="0" i="1" noProof="1">
                <a:solidFill>
                  <a:prstClr val="black"/>
                </a:solidFill>
                <a:latin typeface="Segoe UI Light" pitchFamily="34" charset="0"/>
              </a:rPr>
              <a:t>Index_Operational_Stats.sql</a:t>
            </a:r>
            <a:endParaRPr lang="en-US" sz="1050" i="1" noProof="1">
              <a:solidFill>
                <a:prstClr val="black"/>
              </a:solidFill>
              <a:latin typeface="Segoe UI Light" pitchFamily="34" charset="0"/>
            </a:endParaRPr>
          </a:p>
          <a:p>
            <a:endParaRPr lang="en-US" b="1" dirty="0"/>
          </a:p>
          <a:p>
            <a:endParaRPr lang="en-US" b="1" dirty="0"/>
          </a:p>
          <a:p>
            <a:r>
              <a:rPr lang="en-US" b="1" dirty="0"/>
              <a:t>Key Points</a:t>
            </a:r>
            <a:r>
              <a:rPr lang="en-US" dirty="0"/>
              <a:t>:</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err="1"/>
              <a:t>sys.dm_db_index_operational_stats</a:t>
            </a:r>
            <a:r>
              <a:rPr lang="en-US" b="1" baseline="0" dirty="0"/>
              <a:t> : </a:t>
            </a:r>
            <a:r>
              <a:rPr lang="en-US" baseline="0" dirty="0"/>
              <a:t>Operational stats provides good, low-level data that is useful for diagnosing different sorts of problems. </a:t>
            </a:r>
            <a:r>
              <a:rPr lang="en-US" b="1" baseline="0" dirty="0"/>
              <a:t>For example, you can track IO latency, lock escalations, and page compression failures</a:t>
            </a:r>
            <a:r>
              <a:rPr lang="en-US" dirty="0"/>
              <a:t> or how many INSERT, UPDATE and DELETE operations, occurred on that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Default parameter value is null.</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You can use </a:t>
            </a:r>
            <a:r>
              <a:rPr lang="en-US" sz="882" b="1" i="0" kern="1200" baseline="0" dirty="0" err="1">
                <a:solidFill>
                  <a:schemeClr val="tx1"/>
                </a:solidFill>
                <a:effectLst/>
                <a:latin typeface="+mn-lt"/>
                <a:ea typeface="+mn-ea"/>
                <a:cs typeface="+mn-cs"/>
              </a:rPr>
              <a:t>sys.dm_db_index_operational_stats</a:t>
            </a:r>
            <a:r>
              <a:rPr lang="en-US" sz="882" b="0" i="0" kern="1200" baseline="0" dirty="0">
                <a:solidFill>
                  <a:schemeClr val="tx1"/>
                </a:solidFill>
                <a:effectLst/>
                <a:latin typeface="+mn-lt"/>
                <a:ea typeface="+mn-ea"/>
                <a:cs typeface="+mn-cs"/>
              </a:rPr>
              <a:t> to track the length of time that users must wait to read or write to a table, index, or partition, and identify the tables or indexes that are encountering significant I/O activity or hot spots.</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Data is </a:t>
            </a:r>
            <a:r>
              <a:rPr lang="en-US" b="1" dirty="0"/>
              <a:t>neither persistent nor transactionally consistent</a:t>
            </a:r>
            <a:r>
              <a:rPr lang="en-US" dirty="0"/>
              <a:t>. This means you cannot use these counters to determine whether an index has been used or not, or when the index was last used. </a:t>
            </a:r>
          </a:p>
          <a:p>
            <a:r>
              <a:rPr lang="en-US" dirty="0"/>
              <a:t>=============</a:t>
            </a:r>
          </a:p>
          <a:p>
            <a:r>
              <a:rPr lang="en-US" b="1" dirty="0"/>
              <a:t>More Information</a:t>
            </a:r>
          </a:p>
          <a:p>
            <a:r>
              <a:rPr lang="en-US" dirty="0"/>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err="1">
                <a:solidFill>
                  <a:schemeClr val="tx1"/>
                </a:solidFill>
                <a:effectLst/>
                <a:latin typeface="+mn-lt"/>
                <a:ea typeface="+mn-ea"/>
                <a:cs typeface="+mn-cs"/>
              </a:rPr>
              <a:t>sys.dm_db_index_operational_stats</a:t>
            </a:r>
            <a:r>
              <a:rPr lang="en-US" sz="882" b="0" i="0" kern="1200" baseline="0" dirty="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dirty="0" err="1">
                <a:solidFill>
                  <a:schemeClr val="tx1"/>
                </a:solidFill>
                <a:effectLst/>
                <a:latin typeface="+mn-lt"/>
                <a:ea typeface="+mn-ea"/>
                <a:cs typeface="+mn-cs"/>
                <a:hlinkClick r:id="rId3"/>
              </a:rPr>
              <a:t>sys.dm_db_xtp_index_stats</a:t>
            </a:r>
            <a:r>
              <a:rPr lang="en-US" sz="882" b="1" i="0" u="sng" kern="1200" baseline="0" dirty="0">
                <a:solidFill>
                  <a:schemeClr val="tx1"/>
                </a:solidFill>
                <a:effectLst/>
                <a:latin typeface="+mn-lt"/>
                <a:ea typeface="+mn-ea"/>
                <a:cs typeface="+mn-cs"/>
                <a:hlinkClick r:id="rId3"/>
              </a:rPr>
              <a:t> (Transact-SQL)</a:t>
            </a:r>
            <a:r>
              <a:rPr lang="en-US" sz="882" b="0" i="0" kern="1200" baseline="0" dirty="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dirty="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dirty="0">
                <a:solidFill>
                  <a:schemeClr val="tx1"/>
                </a:solidFill>
                <a:effectLst/>
                <a:latin typeface="+mn-lt"/>
                <a:ea typeface="+mn-ea"/>
                <a:cs typeface="+mn-cs"/>
              </a:rPr>
              <a:t>References</a:t>
            </a:r>
            <a:r>
              <a:rPr lang="en-US" dirty="0">
                <a:hlinkClick r:id="rId4"/>
              </a:rPr>
              <a:t>https://docs.microsoft.com/en-us/sql/relational-databases/system-dynamic-management-views/sys-dm-db-index-operational-stats-transact-sql?view=sql-server-ver15</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28767002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hlinkClick r:id="rId3"/>
              </a:rPr>
              <a:t>sys.dm_db_index_physical_stats</a:t>
            </a:r>
            <a:r>
              <a:rPr lang="en-US" dirty="0">
                <a:hlinkClick r:id="rId3"/>
              </a:rPr>
              <a:t> (Transact-SQL) - SQL Server | Microsoft Docs</a:t>
            </a:r>
            <a:endParaRPr lang="en-US" dirty="0"/>
          </a:p>
          <a:p>
            <a:endParaRPr lang="en-US" dirty="0"/>
          </a:p>
          <a:p>
            <a:r>
              <a:rPr lang="en-US" sz="800" b="1" dirty="0"/>
              <a:t>Consider demonstrating SQL demo file.</a:t>
            </a:r>
          </a:p>
          <a:p>
            <a:r>
              <a:rPr lang="en-US" sz="800" b="0" dirty="0"/>
              <a:t>E:\Demos\05_Indexing_Strategy\</a:t>
            </a:r>
            <a:r>
              <a:rPr lang="en-US" sz="900" b="0" i="1" noProof="1">
                <a:solidFill>
                  <a:prstClr val="black"/>
                </a:solidFill>
                <a:latin typeface="Segoe UI Light" pitchFamily="34" charset="0"/>
              </a:rPr>
              <a:t>Index_Fragmentation.sql</a:t>
            </a:r>
            <a:endParaRPr lang="en-US" sz="1000" i="1" noProof="1">
              <a:solidFill>
                <a:prstClr val="black"/>
              </a:solidFill>
              <a:latin typeface="Segoe UI Light"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1858337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b="1" dirty="0"/>
              <a:t>Maintenance</a:t>
            </a:r>
            <a:r>
              <a:rPr lang="en-US" b="1" baseline="0" dirty="0"/>
              <a:t> plans are simple options</a:t>
            </a:r>
            <a:r>
              <a:rPr lang="en-US" baseline="0" dirty="0"/>
              <a:t>, but they do not scale well. </a:t>
            </a:r>
          </a:p>
          <a:p>
            <a:pPr lvl="2"/>
            <a:r>
              <a:rPr lang="en-US" baseline="0" dirty="0"/>
              <a:t>All indexes in a database will be maintained, whether they need to be or not.  </a:t>
            </a:r>
          </a:p>
          <a:p>
            <a:pPr marL="171450" indent="-171450">
              <a:buFont typeface="Arial" panose="020B0604020202020204" pitchFamily="34" charset="0"/>
              <a:buChar char="•"/>
            </a:pPr>
            <a:r>
              <a:rPr lang="en-US" b="1" baseline="0" dirty="0"/>
              <a:t>To manage a manual approach</a:t>
            </a:r>
            <a:r>
              <a:rPr lang="en-US" baseline="0" dirty="0"/>
              <a:t>, you</a:t>
            </a:r>
            <a:r>
              <a:rPr lang="en-US" dirty="0"/>
              <a:t> will</a:t>
            </a:r>
            <a:r>
              <a:rPr lang="en-US" baseline="0" dirty="0"/>
              <a:t> generally follow two steps:  </a:t>
            </a:r>
          </a:p>
          <a:p>
            <a:pPr marL="381762" lvl="1" indent="-171450">
              <a:buFont typeface="Arial" panose="020B0604020202020204" pitchFamily="34" charset="0"/>
              <a:buChar char="•"/>
            </a:pPr>
            <a:r>
              <a:rPr lang="en-US" baseline="0" dirty="0"/>
              <a:t>Use a DMV to calculate the fragmentation for each index.</a:t>
            </a:r>
          </a:p>
          <a:p>
            <a:pPr marL="381762" lvl="1" indent="-171450">
              <a:buFont typeface="Arial" panose="020B0604020202020204" pitchFamily="34" charset="0"/>
              <a:buChar char="•"/>
            </a:pPr>
            <a:r>
              <a:rPr lang="en-US" dirty="0"/>
              <a:t>Wr</a:t>
            </a:r>
            <a:r>
              <a:rPr lang="en-US" baseline="0" dirty="0"/>
              <a:t>ite a script to loop over the results and maintain the indexes that need it.  </a:t>
            </a:r>
          </a:p>
          <a:p>
            <a:pPr marL="228600" lvl="0" indent="-228600">
              <a:buFont typeface="Arial" panose="020B0604020202020204" pitchFamily="34" charset="0"/>
              <a:buChar char="•"/>
            </a:pPr>
            <a:r>
              <a:rPr lang="en-US" b="1" baseline="0" dirty="0"/>
              <a:t>Remove index Fragmentation</a:t>
            </a:r>
          </a:p>
          <a:p>
            <a:pPr marL="438912" lvl="1" indent="-228600">
              <a:buFont typeface="Arial" panose="020B0604020202020204" pitchFamily="34" charset="0"/>
              <a:buChar char="•"/>
            </a:pPr>
            <a:r>
              <a:rPr lang="en-US" u="sng" baseline="0" dirty="0"/>
              <a:t>Rebuild</a:t>
            </a:r>
            <a:r>
              <a:rPr lang="en-US" baseline="0" dirty="0"/>
              <a:t> - </a:t>
            </a:r>
            <a:r>
              <a:rPr lang="en-US" sz="882" b="0" i="0" kern="1200" baseline="0" dirty="0">
                <a:solidFill>
                  <a:schemeClr val="tx1"/>
                </a:solidFill>
                <a:effectLst/>
                <a:latin typeface="+mn-lt"/>
                <a:ea typeface="+mn-ea"/>
                <a:cs typeface="+mn-cs"/>
              </a:rPr>
              <a:t>Drops and re-creates the index. </a:t>
            </a:r>
          </a:p>
          <a:p>
            <a:pPr marL="784098" lvl="4" indent="-171450"/>
            <a:r>
              <a:rPr lang="en-US" sz="882" b="0" i="0" kern="1200" baseline="0" dirty="0">
                <a:solidFill>
                  <a:schemeClr val="tx1"/>
                </a:solidFill>
                <a:effectLst/>
                <a:latin typeface="+mn-lt"/>
                <a:ea typeface="+mn-ea"/>
                <a:cs typeface="+mn-cs"/>
              </a:rPr>
              <a:t>For </a:t>
            </a:r>
            <a:r>
              <a:rPr lang="en-US" sz="882" b="1" i="0" kern="1200" baseline="0" dirty="0" err="1">
                <a:solidFill>
                  <a:schemeClr val="tx1"/>
                </a:solidFill>
                <a:effectLst/>
                <a:latin typeface="+mn-lt"/>
                <a:ea typeface="+mn-ea"/>
                <a:cs typeface="+mn-cs"/>
              </a:rPr>
              <a:t>rowstore</a:t>
            </a:r>
            <a:r>
              <a:rPr lang="en-US" sz="882" b="0" i="0" kern="1200" baseline="0" dirty="0">
                <a:solidFill>
                  <a:schemeClr val="tx1"/>
                </a:solidFill>
                <a:effectLst/>
                <a:latin typeface="+mn-lt"/>
                <a:ea typeface="+mn-ea"/>
                <a:cs typeface="+mn-cs"/>
              </a:rPr>
              <a:t> indexes, rebuilding removes fragmentation, reclaims disk space by compacting the pages based on the specified or existing fill factor setting, and reorders the index rows in contiguous pages.</a:t>
            </a:r>
          </a:p>
          <a:p>
            <a:pPr marL="784098" lvl="4" indent="-171450"/>
            <a:r>
              <a:rPr lang="en-US" sz="882" b="0" i="0" kern="1200" baseline="0" dirty="0">
                <a:solidFill>
                  <a:schemeClr val="tx1"/>
                </a:solidFill>
                <a:effectLst/>
                <a:latin typeface="+mn-lt"/>
                <a:ea typeface="+mn-ea"/>
                <a:cs typeface="+mn-cs"/>
              </a:rPr>
              <a:t>For </a:t>
            </a:r>
            <a:r>
              <a:rPr lang="en-US" sz="882" b="1" i="0" kern="1200" baseline="0" dirty="0">
                <a:solidFill>
                  <a:schemeClr val="tx1"/>
                </a:solidFill>
                <a:effectLst/>
                <a:latin typeface="+mn-lt"/>
                <a:ea typeface="+mn-ea"/>
                <a:cs typeface="+mn-cs"/>
              </a:rPr>
              <a:t>columnstore</a:t>
            </a:r>
            <a:r>
              <a:rPr lang="en-US" sz="882" b="0" i="0" kern="1200" baseline="0" dirty="0">
                <a:solidFill>
                  <a:schemeClr val="tx1"/>
                </a:solidFill>
                <a:effectLst/>
                <a:latin typeface="+mn-lt"/>
                <a:ea typeface="+mn-ea"/>
                <a:cs typeface="+mn-cs"/>
              </a:rPr>
              <a:t> indexes, rebuilding removes fragmentation, moves all rows into the columnstore, and reclaims disk space by physically deleting rows that have been logically deleted from the table.</a:t>
            </a:r>
            <a:endParaRPr lang="en-US" baseline="0" dirty="0"/>
          </a:p>
          <a:p>
            <a:pPr marL="438912" lvl="1" indent="-228600">
              <a:buFont typeface="Arial" panose="020B0604020202020204" pitchFamily="34" charset="0"/>
              <a:buChar char="•"/>
            </a:pPr>
            <a:r>
              <a:rPr lang="en-US" u="sng" baseline="0" dirty="0"/>
              <a:t>Reorganize</a:t>
            </a:r>
            <a:r>
              <a:rPr lang="en-US" baseline="0" dirty="0"/>
              <a:t> - </a:t>
            </a:r>
            <a:r>
              <a:rPr lang="en-US" sz="882" b="0" i="0" kern="1200" baseline="0" dirty="0">
                <a:solidFill>
                  <a:schemeClr val="tx1"/>
                </a:solidFill>
                <a:effectLst/>
                <a:latin typeface="+mn-lt"/>
                <a:ea typeface="+mn-ea"/>
                <a:cs typeface="+mn-cs"/>
              </a:rPr>
              <a:t>Uses minimal system resources and is an online operation. No long-term blocking table locks. it defragments the leaf level of clustered and nonclustered indexes on tables and views by physically reordering the leaf-level pages to match the logical, left to right, order of the leaf nodes.</a:t>
            </a:r>
            <a:endParaRPr lang="en-US" baseline="0" dirty="0"/>
          </a:p>
          <a:p>
            <a:r>
              <a:rPr lang="en-US" b="1" baseline="0" dirty="0"/>
              <a:t>Recommendations </a:t>
            </a:r>
          </a:p>
          <a:p>
            <a:pPr lvl="4"/>
            <a:r>
              <a:rPr lang="en-US" b="1" i="1" dirty="0" err="1">
                <a:effectLst/>
              </a:rPr>
              <a:t>avg_fragmentation_in_percent</a:t>
            </a:r>
            <a:r>
              <a:rPr lang="en-US" i="1" dirty="0"/>
              <a:t> value	Corrective statement</a:t>
            </a:r>
          </a:p>
          <a:p>
            <a:pPr marL="612648" lvl="4" indent="0">
              <a:buFont typeface="Wingdings" panose="05000000000000000000" pitchFamily="2" charset="2"/>
              <a:buNone/>
            </a:pPr>
            <a:r>
              <a:rPr lang="en-US" dirty="0">
                <a:effectLst/>
              </a:rPr>
              <a:t>&gt;5% and &lt; = 30%			ALTER INDEX REORGANIZE</a:t>
            </a:r>
          </a:p>
          <a:p>
            <a:pPr marL="612648" lvl="4" indent="0">
              <a:buFont typeface="Wingdings" panose="05000000000000000000" pitchFamily="2" charset="2"/>
              <a:buNone/>
            </a:pPr>
            <a:r>
              <a:rPr lang="en-US" dirty="0">
                <a:effectLst/>
              </a:rPr>
              <a:t>&gt; 30%			ALTER INDEX REBUILD WITH (ONLINE = ON/OFF)</a:t>
            </a:r>
            <a:endParaRPr lang="en-US" baseline="0" dirty="0"/>
          </a:p>
          <a:p>
            <a:r>
              <a:rPr lang="en-US" sz="900" dirty="0"/>
              <a:t>=============</a:t>
            </a:r>
          </a:p>
          <a:p>
            <a:r>
              <a:rPr lang="en-US" sz="900" b="1" dirty="0"/>
              <a:t>More Information</a:t>
            </a:r>
          </a:p>
          <a:p>
            <a:r>
              <a:rPr lang="en-US" sz="900" dirty="0"/>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solidFill>
                  <a:schemeClr val="accent5">
                    <a:lumMod val="75000"/>
                  </a:schemeClr>
                </a:solidFill>
                <a:latin typeface="Consolas" panose="020B0609020204030204" pitchFamily="49" charset="0"/>
              </a:rPr>
              <a:t>DMV</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900" b="1" dirty="0" err="1">
                <a:solidFill>
                  <a:schemeClr val="accent5">
                    <a:lumMod val="75000"/>
                  </a:schemeClr>
                </a:solidFill>
                <a:latin typeface="Consolas" panose="020B0609020204030204" pitchFamily="49" charset="0"/>
              </a:rPr>
              <a:t>Sys.dm_db_index_physical_stats</a:t>
            </a: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 { </a:t>
            </a:r>
            <a:r>
              <a:rPr lang="en-US" sz="882" b="0" i="0" kern="1200" baseline="0" dirty="0" err="1">
                <a:solidFill>
                  <a:schemeClr val="tx1"/>
                </a:solidFill>
                <a:effectLst/>
                <a:latin typeface="+mn-lt"/>
                <a:ea typeface="+mn-ea"/>
                <a:cs typeface="+mn-cs"/>
              </a:rPr>
              <a:t>database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object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index_id</a:t>
            </a:r>
            <a:r>
              <a:rPr lang="en-US" sz="882" b="0" i="0" kern="1200" baseline="0" dirty="0">
                <a:solidFill>
                  <a:schemeClr val="tx1"/>
                </a:solidFill>
                <a:effectLst/>
                <a:latin typeface="+mn-lt"/>
                <a:ea typeface="+mn-ea"/>
                <a:cs typeface="+mn-cs"/>
              </a:rPr>
              <a:t> | NULL | 0 | -1 | DEFAULT } , { </a:t>
            </a:r>
            <a:r>
              <a:rPr lang="en-US" sz="882" b="0" i="0" kern="1200" baseline="0" dirty="0" err="1">
                <a:solidFill>
                  <a:schemeClr val="tx1"/>
                </a:solidFill>
                <a:effectLst/>
                <a:latin typeface="+mn-lt"/>
                <a:ea typeface="+mn-ea"/>
                <a:cs typeface="+mn-cs"/>
              </a:rPr>
              <a:t>partition_number</a:t>
            </a:r>
            <a:r>
              <a:rPr lang="en-US" sz="882" b="0" i="0" kern="1200" baseline="0" dirty="0">
                <a:solidFill>
                  <a:schemeClr val="tx1"/>
                </a:solidFill>
                <a:effectLst/>
                <a:latin typeface="+mn-lt"/>
                <a:ea typeface="+mn-ea"/>
                <a:cs typeface="+mn-cs"/>
              </a:rPr>
              <a:t> | NULL | 0 | DEFAULT } , { </a:t>
            </a:r>
            <a:r>
              <a:rPr lang="en-US" sz="882" b="1" i="0" kern="1200" baseline="0" dirty="0">
                <a:solidFill>
                  <a:schemeClr val="tx1"/>
                </a:solidFill>
                <a:effectLst/>
                <a:latin typeface="+mn-lt"/>
                <a:ea typeface="+mn-ea"/>
                <a:cs typeface="+mn-cs"/>
              </a:rPr>
              <a:t>mode</a:t>
            </a:r>
            <a:r>
              <a:rPr lang="en-US" sz="882" b="0" i="0" kern="1200" baseline="0" dirty="0">
                <a:solidFill>
                  <a:schemeClr val="tx1"/>
                </a:solidFill>
                <a:effectLst/>
                <a:latin typeface="+mn-lt"/>
                <a:ea typeface="+mn-ea"/>
                <a:cs typeface="+mn-cs"/>
              </a:rPr>
              <a:t> | NULL | DEFAULT } ) </a:t>
            </a:r>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381762" marR="0" lvl="1" indent="-171450" algn="l" defTabSz="914400" rtl="0" eaLnBrk="1" fontAlgn="auto" latinLnBrk="0" hangingPunct="1">
              <a:lnSpc>
                <a:spcPct val="90000"/>
              </a:lnSpc>
              <a:spcBef>
                <a:spcPts val="333"/>
              </a:spcBef>
              <a:spcAft>
                <a:spcPts val="0"/>
              </a:spcAft>
              <a:buClrTx/>
              <a:buSzTx/>
              <a:buFont typeface="Wingdings" panose="05000000000000000000" pitchFamily="2" charset="2"/>
              <a:buChar char="§"/>
              <a:tabLst/>
              <a:defRPr/>
            </a:pPr>
            <a:r>
              <a:rPr lang="en-US" sz="882" b="0" i="0" kern="1200" baseline="0" dirty="0" err="1">
                <a:solidFill>
                  <a:schemeClr val="tx1"/>
                </a:solidFill>
                <a:effectLst/>
                <a:latin typeface="+mn-lt"/>
                <a:ea typeface="+mn-ea"/>
                <a:cs typeface="+mn-cs"/>
              </a:rPr>
              <a:t>sys.dm_db_index_physical_stats</a:t>
            </a:r>
            <a:r>
              <a:rPr lang="en-US" sz="882" b="0" i="0" kern="1200" baseline="0" dirty="0">
                <a:solidFill>
                  <a:schemeClr val="tx1"/>
                </a:solidFill>
                <a:effectLst/>
                <a:latin typeface="+mn-lt"/>
                <a:ea typeface="+mn-ea"/>
                <a:cs typeface="+mn-cs"/>
              </a:rPr>
              <a:t> requires </a:t>
            </a:r>
            <a:r>
              <a:rPr lang="en-US" sz="882" b="1" i="0" kern="1200" baseline="0" dirty="0">
                <a:solidFill>
                  <a:schemeClr val="tx1"/>
                </a:solidFill>
                <a:effectLst/>
                <a:latin typeface="+mn-lt"/>
                <a:ea typeface="+mn-ea"/>
                <a:cs typeface="+mn-cs"/>
              </a:rPr>
              <a:t>only an Intent-Shared (IS) table lock</a:t>
            </a:r>
            <a:r>
              <a:rPr lang="en-US" sz="882" b="0" i="0" kern="1200" baseline="0" dirty="0">
                <a:solidFill>
                  <a:schemeClr val="tx1"/>
                </a:solidFill>
                <a:effectLst/>
                <a:latin typeface="+mn-lt"/>
                <a:ea typeface="+mn-ea"/>
                <a:cs typeface="+mn-cs"/>
              </a:rPr>
              <a:t>, regardless of the mode that it runs in.</a:t>
            </a:r>
            <a:endParaRPr lang="en-US" sz="900" dirty="0">
              <a:solidFill>
                <a:schemeClr val="accent5">
                  <a:lumMod val="75000"/>
                </a:schemeClr>
              </a:solidFill>
              <a:latin typeface="Consolas" panose="020B0609020204030204" pitchFamily="49" charset="0"/>
            </a:endParaRPr>
          </a:p>
          <a:p>
            <a:endParaRPr lang="en-US" dirty="0"/>
          </a:p>
          <a:p>
            <a:pPr marL="500634" marR="0" lvl="2" indent="-171450" algn="l" defTabSz="914400" rtl="0" eaLnBrk="1" fontAlgn="auto" latinLnBrk="0" hangingPunct="1">
              <a:lnSpc>
                <a:spcPct val="90000"/>
              </a:lnSpc>
              <a:spcBef>
                <a:spcPts val="333"/>
              </a:spcBef>
              <a:spcAft>
                <a:spcPts val="0"/>
              </a:spcAft>
              <a:buClrTx/>
              <a:buSzTx/>
              <a:tabLst/>
              <a:defRPr/>
            </a:pPr>
            <a:r>
              <a:rPr lang="en-US" sz="882" b="1" i="0" kern="1200" baseline="0" dirty="0">
                <a:solidFill>
                  <a:schemeClr val="tx1"/>
                </a:solidFill>
                <a:effectLst/>
                <a:latin typeface="+mn-lt"/>
                <a:ea typeface="+mn-ea"/>
                <a:cs typeface="+mn-cs"/>
              </a:rPr>
              <a:t>Scanning Modes</a:t>
            </a:r>
            <a:r>
              <a:rPr lang="en-US" dirty="0"/>
              <a:t>:    LIMITED, SAMPLED or DETAILED</a:t>
            </a:r>
          </a:p>
          <a:p>
            <a:pPr marL="329184" lvl="2" indent="-109728"/>
            <a:endParaRPr lang="en-US" dirty="0"/>
          </a:p>
          <a:p>
            <a:pPr marL="484632" lvl="3" indent="-118872"/>
            <a:r>
              <a:rPr lang="en-US" b="1" dirty="0"/>
              <a:t>The LIMITED mode is the fastest mode and scans the smallest number of pages</a:t>
            </a:r>
            <a:r>
              <a:rPr lang="en-US" dirty="0"/>
              <a:t>. For an index, only the parent-level pages of the B-tree (that is, the pages above the leaf level) are scanned. For a heap, the associated PFS and IAM pages are examined and the data pages of a heap are scanned in LIMITED mode.</a:t>
            </a:r>
          </a:p>
          <a:p>
            <a:pPr marL="484632" lvl="3" indent="-118872"/>
            <a:endParaRPr lang="en-US" dirty="0"/>
          </a:p>
          <a:p>
            <a:pPr marL="484632" lvl="3" indent="-118872"/>
            <a:r>
              <a:rPr lang="en-US" dirty="0"/>
              <a:t>The </a:t>
            </a:r>
            <a:r>
              <a:rPr lang="en-US" b="1" dirty="0"/>
              <a:t>SAMPLED mode returns statistics based on a 1 percent sample of all the pages in the index or heap. </a:t>
            </a:r>
            <a:r>
              <a:rPr lang="en-US" dirty="0"/>
              <a:t>Results in SAMPLED mode should be regarded as approximate. If the index or heap has fewer than 10,000 pages, DETAILED mode is used, instead of SAMPLED.</a:t>
            </a:r>
          </a:p>
          <a:p>
            <a:pPr marL="484632" lvl="3" indent="-118872"/>
            <a:r>
              <a:rPr lang="en-US" dirty="0"/>
              <a:t>The DETAILED mode scans all pages and returns all statistics – both fragmentation</a:t>
            </a:r>
            <a:r>
              <a:rPr lang="en-US" baseline="0" dirty="0"/>
              <a:t> as well as free space available on the index.</a:t>
            </a:r>
            <a:endParaRPr lang="en-US" dirty="0"/>
          </a:p>
          <a:p>
            <a:pPr marL="484632" lvl="3" indent="-118872"/>
            <a:r>
              <a:rPr lang="en-US" dirty="0"/>
              <a:t>The modes are progressively slower from LIMITED to DETAILED, because more work is performed in each mode.</a:t>
            </a:r>
          </a:p>
          <a:p>
            <a:pPr marL="484632" lvl="3" indent="-118872"/>
            <a:r>
              <a:rPr lang="en-US" dirty="0"/>
              <a:t>It is rare to</a:t>
            </a:r>
            <a:r>
              <a:rPr lang="en-US" baseline="0" dirty="0"/>
              <a:t> use </a:t>
            </a:r>
            <a:r>
              <a:rPr lang="en-US" b="1" baseline="0" dirty="0"/>
              <a:t>DETAILED mode in larger databases, because it requires reading all the pages in the database. </a:t>
            </a:r>
            <a:r>
              <a:rPr lang="en-US" baseline="0" dirty="0"/>
              <a:t>Therefore, database administrators (DBAs) often are unaware of how much free space is currently available in indexes.  </a:t>
            </a:r>
          </a:p>
          <a:p>
            <a:pPr lvl="1"/>
            <a:endParaRPr lang="en-US" baseline="0" dirty="0"/>
          </a:p>
          <a:p>
            <a:pPr marL="100584" lvl="1" indent="0">
              <a:buNone/>
            </a:pPr>
            <a:r>
              <a:rPr lang="en-US" baseline="0" dirty="0"/>
              <a:t>For a good example of the logic required to write a custom solution, see </a:t>
            </a:r>
            <a:r>
              <a:rPr lang="en-US" i="1" baseline="0" dirty="0"/>
              <a:t>https://ola.hallengren.com</a:t>
            </a:r>
            <a:r>
              <a:rPr lang="en-US" b="1" i="1" baseline="0" dirty="0"/>
              <a:t>/</a:t>
            </a:r>
          </a:p>
          <a:p>
            <a:pPr marL="100584" lvl="1" indent="0">
              <a:buNone/>
            </a:pPr>
            <a:endParaRPr lang="en-US" dirty="0"/>
          </a:p>
          <a:p>
            <a:pPr marL="171450" indent="-171450">
              <a:buFont typeface="Arial" panose="020B0604020202020204" pitchFamily="34" charset="0"/>
              <a:buChar char="•"/>
            </a:pPr>
            <a:r>
              <a:rPr lang="en-US" b="1" dirty="0"/>
              <a:t>Rebuilding indexes</a:t>
            </a:r>
            <a:r>
              <a:rPr lang="en-US" b="1" baseline="0" dirty="0"/>
              <a:t> </a:t>
            </a:r>
            <a:r>
              <a:rPr lang="en-US" baseline="0" dirty="0"/>
              <a:t>accomplishes much more than reorganizing, but that comes at a cost.</a:t>
            </a:r>
          </a:p>
          <a:p>
            <a:pPr lvl="2"/>
            <a:r>
              <a:rPr lang="en-US" b="1" baseline="0" dirty="0"/>
              <a:t>Rebuilds are more intensive, potentially using </a:t>
            </a:r>
            <a:r>
              <a:rPr lang="en-US" b="1" baseline="0" dirty="0" err="1"/>
              <a:t>tempdb</a:t>
            </a:r>
            <a:r>
              <a:rPr lang="en-US" b="1" baseline="0" dirty="0"/>
              <a:t> resources, causing high I/O, and causing log growth</a:t>
            </a:r>
            <a:r>
              <a:rPr lang="en-US" baseline="0" dirty="0"/>
              <a:t>. The larger the table, the more likely these are to become issues. This</a:t>
            </a:r>
            <a:r>
              <a:rPr lang="en-US" dirty="0"/>
              <a:t> is </a:t>
            </a:r>
            <a:r>
              <a:rPr lang="en-US" baseline="0" dirty="0"/>
              <a:t>because rebuilding indexes moves all the data on the pages around, in order to eliminate free space. This is done in a single transaction, which can cause the log to fill.  </a:t>
            </a:r>
          </a:p>
          <a:p>
            <a:pPr marL="171450" indent="-171450">
              <a:buFont typeface="Arial" panose="020B0604020202020204" pitchFamily="34" charset="0"/>
              <a:buChar char="•"/>
            </a:pPr>
            <a:r>
              <a:rPr lang="en-US" b="1" baseline="0" dirty="0"/>
              <a:t> Reorganize </a:t>
            </a:r>
          </a:p>
          <a:p>
            <a:pPr lvl="2"/>
            <a:r>
              <a:rPr lang="en-US" baseline="0" dirty="0"/>
              <a:t>In contrast, reorganize works by locking two pages that are out of order, swapping them, and then releasing the locks. This is a very quick process, and each swap is a separate transaction.  </a:t>
            </a:r>
          </a:p>
          <a:p>
            <a:pPr lvl="2"/>
            <a:r>
              <a:rPr lang="en-US" baseline="0" dirty="0"/>
              <a:t>Like most processes that work “one at a time”, </a:t>
            </a:r>
            <a:r>
              <a:rPr lang="en-US" b="1" baseline="0" dirty="0"/>
              <a:t>reorganizes can take longer than rebuilds</a:t>
            </a:r>
            <a:r>
              <a:rPr lang="en-US" baseline="0" dirty="0"/>
              <a:t>. Therefore, reorganizes typically are </a:t>
            </a:r>
            <a:r>
              <a:rPr lang="en-US" b="1" baseline="0" dirty="0"/>
              <a:t>saved for indexes that are less than 30% fragmented</a:t>
            </a:r>
            <a:r>
              <a:rPr lang="en-US" baseline="0" dirty="0"/>
              <a:t>. In these cases, the reduced IO requirements (&lt;30% of all pages</a:t>
            </a:r>
            <a:r>
              <a:rPr lang="en-US" dirty="0"/>
              <a:t> versus</a:t>
            </a:r>
            <a:r>
              <a:rPr lang="en-US" baseline="0" dirty="0"/>
              <a:t> 100% of pages for rebuilds) keeps the impact of the reduced efficiency in check. </a:t>
            </a:r>
          </a:p>
          <a:p>
            <a:r>
              <a:rPr lang="en-US" baseline="0" dirty="0"/>
              <a:t> </a:t>
            </a:r>
          </a:p>
          <a:p>
            <a:r>
              <a:rPr lang="en-US" b="1" u="sng" baseline="0" dirty="0"/>
              <a:t>Note</a:t>
            </a:r>
            <a:r>
              <a:rPr lang="en-US" baseline="0" dirty="0"/>
              <a:t> that REORGANIZE does not remove free space. </a:t>
            </a:r>
            <a:r>
              <a:rPr lang="en-US" b="1" baseline="0" dirty="0"/>
              <a:t>If DBAs maintain indexes well, many indexes may never reach 30% fragmentation</a:t>
            </a:r>
            <a:r>
              <a:rPr lang="en-US" baseline="0" dirty="0"/>
              <a:t>. Therefore, they never get rebuilt, and free space can grow significantly over time. </a:t>
            </a:r>
            <a:r>
              <a:rPr lang="en-US" u="sng" baseline="0" dirty="0"/>
              <a:t>Because the physical stats DMV is rarely run in DETAILED mode, free space problems are rarely observed</a:t>
            </a:r>
            <a:r>
              <a:rPr lang="en-US" u="none" baseline="0" dirty="0"/>
              <a:t>.</a:t>
            </a:r>
            <a:r>
              <a:rPr lang="en-US" baseline="0" dirty="0"/>
              <a:t> It may be a good idea to check for free space occasionally, or track indexes that are not rebuilt, so that they can be manually rebuilt over time to reclaim free space.</a:t>
            </a:r>
          </a:p>
          <a:p>
            <a:endParaRPr lang="en-US" baseline="0" dirty="0"/>
          </a:p>
          <a:p>
            <a:r>
              <a:rPr lang="en-US" baseline="0" dirty="0"/>
              <a:t>References:</a:t>
            </a:r>
          </a:p>
          <a:p>
            <a:r>
              <a:rPr lang="en-US" baseline="0" dirty="0"/>
              <a:t> </a:t>
            </a:r>
            <a:r>
              <a:rPr lang="en-US" dirty="0">
                <a:hlinkClick r:id="rId3"/>
              </a:rPr>
              <a:t>https://docs.microsoft.com/en-us/sql/relational-databases/indexes/reorganize-and-rebuild-indexes?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a:p>
        </p:txBody>
      </p:sp>
    </p:spTree>
    <p:extLst>
      <p:ext uri="{BB962C8B-B14F-4D97-AF65-F5344CB8AC3E}">
        <p14:creationId xmlns:p14="http://schemas.microsoft.com/office/powerpoint/2010/main" val="9789338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indent="-171450">
              <a:buFont typeface="Arial" panose="020B0604020202020204" pitchFamily="34" charset="0"/>
              <a:buChar char="•"/>
            </a:pPr>
            <a:r>
              <a:rPr lang="en-US" b="1" u="sng" dirty="0"/>
              <a:t>Setting a default fill factor is not a great approach,</a:t>
            </a:r>
            <a:r>
              <a:rPr lang="en-US" b="1" u="sng" baseline="0" dirty="0"/>
              <a:t> </a:t>
            </a:r>
            <a:r>
              <a:rPr lang="en-US" u="sng" baseline="0" dirty="0"/>
              <a:t>because the increase in total pages needed to store an index can be costly</a:t>
            </a:r>
            <a:r>
              <a:rPr lang="en-US" u="none" baseline="0" dirty="0"/>
              <a:t>. </a:t>
            </a:r>
          </a:p>
          <a:p>
            <a:pPr marL="171450" indent="-171450">
              <a:buFont typeface="Arial" panose="020B0604020202020204" pitchFamily="34" charset="0"/>
              <a:buChar char="•"/>
            </a:pPr>
            <a:r>
              <a:rPr lang="en-US" u="sng" baseline="0" dirty="0"/>
              <a:t>When deciding to set a fill factor, think about the following</a:t>
            </a:r>
            <a:r>
              <a:rPr lang="en-US" u="sng" dirty="0"/>
              <a:t>:</a:t>
            </a:r>
          </a:p>
          <a:p>
            <a:pPr lvl="1"/>
            <a:r>
              <a:rPr lang="en-US" dirty="0"/>
              <a:t>If low fragmentation, do not use fill factor.  </a:t>
            </a:r>
          </a:p>
          <a:p>
            <a:pPr lvl="1"/>
            <a:r>
              <a:rPr lang="en-US" dirty="0"/>
              <a:t>If </a:t>
            </a:r>
            <a:r>
              <a:rPr lang="en-US" b="1" dirty="0"/>
              <a:t>high seeks and low scans, do not use fill factor</a:t>
            </a:r>
            <a:r>
              <a:rPr lang="en-US" dirty="0"/>
              <a:t>. Fragmentation only affects scans. </a:t>
            </a:r>
          </a:p>
          <a:p>
            <a:pPr lvl="1"/>
            <a:r>
              <a:rPr lang="en-US" dirty="0"/>
              <a:t>Therefore, if the index is not scanned,</a:t>
            </a:r>
            <a:r>
              <a:rPr lang="en-US" baseline="0" dirty="0"/>
              <a:t> fragmentation is not as important, and fill factor is likely not needed.</a:t>
            </a:r>
            <a:endParaRPr lang="en-US" dirty="0"/>
          </a:p>
          <a:p>
            <a:pPr lvl="1"/>
            <a:r>
              <a:rPr lang="en-US" dirty="0"/>
              <a:t>If </a:t>
            </a:r>
            <a:r>
              <a:rPr lang="en-US" u="sng" dirty="0"/>
              <a:t>high fragmentation, test and see</a:t>
            </a:r>
            <a:r>
              <a:rPr lang="en-US" dirty="0"/>
              <a:t>.</a:t>
            </a:r>
          </a:p>
          <a:p>
            <a:endParaRPr lang="en-US" b="1" dirty="0"/>
          </a:p>
          <a:p>
            <a:pPr marL="171450" indent="-171450">
              <a:buFont typeface="Arial" panose="020B0604020202020204" pitchFamily="34" charset="0"/>
              <a:buChar char="•"/>
            </a:pPr>
            <a:r>
              <a:rPr lang="en-US" b="1" dirty="0"/>
              <a:t>If fragmentation is causing performance issues, fill factor</a:t>
            </a:r>
            <a:r>
              <a:rPr lang="en-US" b="1" baseline="0" dirty="0"/>
              <a:t> is one way to address it</a:t>
            </a:r>
            <a:r>
              <a:rPr lang="en-US" baseline="0" dirty="0"/>
              <a:t>. </a:t>
            </a:r>
          </a:p>
          <a:p>
            <a:pPr marL="381762" lvl="1" indent="-171450">
              <a:buFont typeface="Arial" panose="020B0604020202020204" pitchFamily="34" charset="0"/>
              <a:buChar char="•"/>
            </a:pPr>
            <a:r>
              <a:rPr lang="en-US" baseline="0" dirty="0"/>
              <a:t>However</a:t>
            </a:r>
            <a:r>
              <a:rPr lang="en-US" b="1" baseline="0" dirty="0"/>
              <a:t>, fill factors leave free space on a page</a:t>
            </a:r>
            <a:r>
              <a:rPr lang="en-US" baseline="0" dirty="0"/>
              <a:t>, which is going to increase the total number of pages needed to store the index.</a:t>
            </a:r>
          </a:p>
          <a:p>
            <a:pPr marL="381762" lvl="1" indent="-171450">
              <a:buFont typeface="Arial" panose="020B0604020202020204" pitchFamily="34" charset="0"/>
              <a:buChar char="•"/>
            </a:pPr>
            <a:r>
              <a:rPr lang="en-US" baseline="0" dirty="0"/>
              <a:t> It</a:t>
            </a:r>
            <a:r>
              <a:rPr lang="en-US" dirty="0"/>
              <a:t> i</a:t>
            </a:r>
            <a:r>
              <a:rPr lang="en-US" baseline="0" dirty="0"/>
              <a:t>s a trade-off, will a scan of the less fragmented index, with more sequential reads perform better? </a:t>
            </a:r>
          </a:p>
          <a:p>
            <a:pPr marL="381762" lvl="1" indent="-171450">
              <a:buFont typeface="Arial" panose="020B0604020202020204" pitchFamily="34" charset="0"/>
              <a:buChar char="•"/>
            </a:pPr>
            <a:r>
              <a:rPr lang="en-US" baseline="0" dirty="0"/>
              <a:t> Or will the scan of fewer data pages perform better? </a:t>
            </a:r>
          </a:p>
          <a:p>
            <a:pPr marL="381762" lvl="1" indent="-171450">
              <a:buFont typeface="Arial" panose="020B0604020202020204" pitchFamily="34" charset="0"/>
              <a:buChar char="•"/>
            </a:pPr>
            <a:r>
              <a:rPr lang="en-US" b="1" baseline="0" dirty="0"/>
              <a:t> Performance </a:t>
            </a:r>
            <a:r>
              <a:rPr lang="en-US" b="1" dirty="0"/>
              <a:t>i</a:t>
            </a:r>
            <a:r>
              <a:rPr lang="en-US" b="1" baseline="0" dirty="0"/>
              <a:t>s going to vary, depending on the index</a:t>
            </a:r>
            <a:r>
              <a:rPr lang="en-US" baseline="0" dirty="0"/>
              <a:t>.</a:t>
            </a:r>
          </a:p>
          <a:p>
            <a:r>
              <a:rPr lang="en-US" dirty="0"/>
              <a:t>=============</a:t>
            </a:r>
          </a:p>
          <a:p>
            <a:r>
              <a:rPr lang="en-US" b="1" dirty="0"/>
              <a:t>More Information</a:t>
            </a:r>
          </a:p>
          <a:p>
            <a:r>
              <a:rPr lang="en-US" dirty="0"/>
              <a:t>=============</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1" dirty="0"/>
              <a:t>How to tell?</a:t>
            </a:r>
          </a:p>
          <a:p>
            <a:pPr lvl="2"/>
            <a:r>
              <a:rPr lang="en-US" b="1" dirty="0"/>
              <a:t>Indexes on ascending values do not fragment</a:t>
            </a:r>
            <a:r>
              <a:rPr lang="en-US" dirty="0"/>
              <a:t>.</a:t>
            </a:r>
          </a:p>
          <a:p>
            <a:pPr lvl="2"/>
            <a:r>
              <a:rPr lang="en-US" dirty="0"/>
              <a:t>Use </a:t>
            </a:r>
            <a:r>
              <a:rPr lang="en-US" dirty="0" err="1"/>
              <a:t>sys.dm_db_index_stats</a:t>
            </a:r>
            <a:r>
              <a:rPr lang="en-US" dirty="0"/>
              <a:t> for seek vs scan usage.</a:t>
            </a:r>
          </a:p>
          <a:p>
            <a:pPr lvl="2"/>
            <a:r>
              <a:rPr lang="en-US" dirty="0"/>
              <a:t>Collect fragmentation history as part of index maintenance.</a:t>
            </a:r>
          </a:p>
          <a:p>
            <a:pPr marL="171450" indent="-171450">
              <a:buFont typeface="Arial" panose="020B0604020202020204" pitchFamily="34" charset="0"/>
              <a:buChar char="•"/>
            </a:pPr>
            <a:r>
              <a:rPr lang="en-US" b="1" dirty="0"/>
              <a:t>How to set fill factor?</a:t>
            </a:r>
          </a:p>
          <a:p>
            <a:pPr lvl="2"/>
            <a:r>
              <a:rPr lang="en-US" dirty="0"/>
              <a:t>Option in CREATE INDEX and ALTER INDEX…REBUILD.</a:t>
            </a:r>
          </a:p>
          <a:p>
            <a:pPr lvl="2"/>
            <a:r>
              <a:rPr lang="en-US" dirty="0"/>
              <a:t>Once set, future REBUILDs will respect the setting until it is manually changed.</a:t>
            </a:r>
          </a:p>
          <a:p>
            <a:pPr marL="171450" lvl="0" indent="-171450">
              <a:buFont typeface="Arial" panose="020B0604020202020204" pitchFamily="34" charset="0"/>
              <a:buChar char="•"/>
            </a:pPr>
            <a:r>
              <a:rPr lang="en-US" b="1" baseline="0" dirty="0"/>
              <a:t>Techniques used to reduce fill factor, </a:t>
            </a:r>
            <a:r>
              <a:rPr lang="en-US" baseline="0" dirty="0"/>
              <a:t>which have been discussed earlier in this lesson.  </a:t>
            </a:r>
          </a:p>
          <a:p>
            <a:pPr marL="280756" lvl="1" indent="-171450"/>
            <a:r>
              <a:rPr lang="en-US" baseline="0" dirty="0"/>
              <a:t>The exception is minimizing updates. This is not an indexing issue, but can definitely impact fragmentation.</a:t>
            </a:r>
          </a:p>
          <a:p>
            <a:pPr lvl="2"/>
            <a:r>
              <a:rPr lang="en-US" dirty="0"/>
              <a:t>Update in sets, rather than one at a time. </a:t>
            </a:r>
          </a:p>
          <a:p>
            <a:pPr lvl="2"/>
            <a:r>
              <a:rPr lang="en-US" b="1" dirty="0"/>
              <a:t>Do not insert with immediate update</a:t>
            </a:r>
            <a:r>
              <a:rPr lang="en-US" dirty="0"/>
              <a:t>. Typically, this is done to look up values in other tables.</a:t>
            </a:r>
            <a:r>
              <a:rPr lang="en-US" baseline="0" dirty="0"/>
              <a:t> Backfilling null values with the values looked up can increase the chance that the pages just added will not fit after the update. </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a:p>
        </p:txBody>
      </p:sp>
    </p:spTree>
    <p:extLst>
      <p:ext uri="{BB962C8B-B14F-4D97-AF65-F5344CB8AC3E}">
        <p14:creationId xmlns:p14="http://schemas.microsoft.com/office/powerpoint/2010/main" val="310921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a:t>
            </a: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da-DK"/>
              <a:t>sys.dm_db_index_usage_stats </a:t>
            </a:r>
            <a:endParaRPr lang="en-US"/>
          </a:p>
          <a:p>
            <a:pPr marL="0" indent="0">
              <a:buFont typeface="Arial" panose="020B0604020202020204" pitchFamily="34" charset="0"/>
              <a:buNone/>
            </a:pP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a:p>
        </p:txBody>
      </p:sp>
    </p:spTree>
    <p:extLst>
      <p:ext uri="{BB962C8B-B14F-4D97-AF65-F5344CB8AC3E}">
        <p14:creationId xmlns:p14="http://schemas.microsoft.com/office/powerpoint/2010/main" val="11975423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dirty="0"/>
          </a:p>
          <a:p>
            <a:pPr marL="171450" indent="-171450">
              <a:buFont typeface="Arial" panose="020B0604020202020204" pitchFamily="34" charset="0"/>
              <a:buChar char="•"/>
            </a:pPr>
            <a:r>
              <a:rPr lang="en-US" dirty="0"/>
              <a:t>Reviewing</a:t>
            </a:r>
            <a:r>
              <a:rPr lang="en-US" baseline="0" dirty="0"/>
              <a:t> index usage is a great way to decide which indexes are not needed. However, you also need a way to find indexes that need to be added.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o support this, Microsoft SQL Server identifies indexes that would benefit a query when the query is being compiled, and includes it in the query plan. In addition, SQL Server keeps a running tally of the total cost benefit to the query. As queries are executed more often, the total cost saving grows. Doing so lets you prioritize the indexes that need to be added.</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dirty="0"/>
              <a:t>Database Tuning Advisor makes</a:t>
            </a:r>
            <a:r>
              <a:rPr lang="en-US" baseline="0" dirty="0"/>
              <a:t> index recommendations as well.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a:p>
        </p:txBody>
      </p:sp>
    </p:spTree>
    <p:extLst>
      <p:ext uri="{BB962C8B-B14F-4D97-AF65-F5344CB8AC3E}">
        <p14:creationId xmlns:p14="http://schemas.microsoft.com/office/powerpoint/2010/main" val="31129400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 –&gt;covered in detail in upcoming chapter</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r>
              <a:rPr lang="da-DK"/>
              <a:t>sys.dm_db_index_usage_stats    </a:t>
            </a:r>
            <a:r>
              <a:rPr lang="en-US" sz="882" b="1" i="0" kern="1200" baseline="0">
                <a:solidFill>
                  <a:schemeClr val="tx1"/>
                </a:solidFill>
                <a:effectLst/>
                <a:latin typeface="+mn-lt"/>
                <a:ea typeface="+mn-ea"/>
                <a:cs typeface="+mn-cs"/>
              </a:rPr>
              <a:t>–&gt;covered in detail in upcoming chapter along with operational stats</a:t>
            </a:r>
            <a:r>
              <a:rPr lang="en-US" sz="882" b="0" i="0" kern="1200" baseline="0">
                <a:solidFill>
                  <a:schemeClr val="tx1"/>
                </a:solidFill>
                <a:effectLst/>
                <a:latin typeface="+mn-lt"/>
                <a:ea typeface="+mn-ea"/>
                <a:cs typeface="+mn-cs"/>
              </a:rPr>
              <a:t>.</a:t>
            </a: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a:p>
        </p:txBody>
      </p:sp>
    </p:spTree>
    <p:extLst>
      <p:ext uri="{BB962C8B-B14F-4D97-AF65-F5344CB8AC3E}">
        <p14:creationId xmlns:p14="http://schemas.microsoft.com/office/powerpoint/2010/main" val="29942394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900" b="0" dirty="0"/>
              <a:t>E:\Demos\05_Indexing_Strategy\</a:t>
            </a:r>
            <a:r>
              <a:rPr lang="en-US" sz="1000" b="0" i="1" noProof="1">
                <a:solidFill>
                  <a:prstClr val="black"/>
                </a:solidFill>
                <a:latin typeface="Segoe UI Light" pitchFamily="34" charset="0"/>
              </a:rPr>
              <a:t>Index_Usage01,sql</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0" dirty="0"/>
              <a:t>E:\Demos\05_Indexing_Strategy\</a:t>
            </a:r>
            <a:r>
              <a:rPr lang="en-US" sz="1050" b="0" i="1" noProof="1">
                <a:solidFill>
                  <a:prstClr val="black"/>
                </a:solidFill>
                <a:latin typeface="Segoe UI Light" pitchFamily="34" charset="0"/>
              </a:rPr>
              <a:t>Index_Usage02,sql</a:t>
            </a:r>
            <a:endParaRPr lang="en-US" sz="1050" i="1" noProof="1">
              <a:solidFill>
                <a:prstClr val="black"/>
              </a:solidFill>
              <a:latin typeface="Segoe UI Light" pitchFamily="34" charset="0"/>
            </a:endParaRPr>
          </a:p>
          <a:p>
            <a:endParaRPr lang="en-US" sz="1000" i="1"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32884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28932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he files for this Lab are located at E:\Labfiles\</a:t>
            </a:r>
            <a:r>
              <a:rPr lang="en-US" b="1" dirty="0"/>
              <a:t>M05L05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ink to lab: Use electronic material to complete the lab exercise “Index Mainten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586018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3202322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nswer </a:t>
            </a:r>
            <a:r>
              <a:rPr lang="en-US" b="1" baseline="0"/>
              <a:t>1: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solidFill>
                  <a:schemeClr val="accent4"/>
                </a:solidFill>
              </a:rPr>
              <a:t>sys.dm_db_index_usage_stats </a:t>
            </a:r>
            <a:r>
              <a:rPr lang="en-US" baseline="0">
                <a:solidFill>
                  <a:schemeClr val="bg1"/>
                </a:solidFill>
              </a:rPr>
              <a:t>DMV</a:t>
            </a:r>
            <a:r>
              <a:rPr lang="en-US" baseline="0">
                <a:solidFill>
                  <a:schemeClr val="accent4"/>
                </a:solidFill>
              </a:rPr>
              <a:t>  </a:t>
            </a:r>
            <a:r>
              <a:rPr lang="en-US" baseline="0"/>
              <a:t>and </a:t>
            </a:r>
            <a:r>
              <a:rPr lang="en-US" baseline="0">
                <a:solidFill>
                  <a:schemeClr val="accent4"/>
                </a:solidFill>
              </a:rPr>
              <a:t>sys.dm_db_index_operational_stats </a:t>
            </a:r>
            <a:r>
              <a:rPr lang="en-US" baseline="0"/>
              <a:t>DMF are used to monitor index usages.</a:t>
            </a:r>
          </a:p>
          <a:p>
            <a:r>
              <a:rPr lang="en-US" b="1"/>
              <a:t>Answer </a:t>
            </a:r>
            <a:r>
              <a:rPr lang="en-US" b="1" baseline="0"/>
              <a:t>2: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solidFill>
                  <a:schemeClr val="accent4"/>
                </a:solidFill>
              </a:rPr>
              <a:t>No it is not wise. Focus on the most beneficial ones, based on total cost savings may top 10. Compare those indexes against other recommendations for the same tables and against existing indexes to see if consolidating them give benefits, or to remove an existing index when adding a recommended one that is similar.</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1" baseline="0">
                <a:solidFill>
                  <a:schemeClr val="accent4"/>
                </a:solidFill>
              </a:rPr>
              <a:t>Answer 3:</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a:t>   MLP is used for online Indexe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a:p>
        </p:txBody>
      </p:sp>
    </p:spTree>
    <p:extLst>
      <p:ext uri="{BB962C8B-B14F-4D97-AF65-F5344CB8AC3E}">
        <p14:creationId xmlns:p14="http://schemas.microsoft.com/office/powerpoint/2010/main" val="2522195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96154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03824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 </a:t>
            </a:r>
            <a:r>
              <a:rPr lang="en-US" dirty="0"/>
              <a:t>:</a:t>
            </a:r>
          </a:p>
          <a:p>
            <a:pPr marL="100584" lvl="1" indent="0">
              <a:buNone/>
            </a:pPr>
            <a:r>
              <a:rPr lang="en-US" dirty="0"/>
              <a:t>Heaps are typically a poor</a:t>
            </a:r>
            <a:r>
              <a:rPr lang="en-US" baseline="0" dirty="0"/>
              <a:t> choice for production structures because:</a:t>
            </a:r>
          </a:p>
          <a:p>
            <a:pPr marL="381762" lvl="1" indent="-171450">
              <a:buFont typeface="Arial" panose="020B0604020202020204" pitchFamily="34" charset="0"/>
              <a:buChar char="•"/>
            </a:pPr>
            <a:r>
              <a:rPr lang="en-US" dirty="0"/>
              <a:t>Forwarding pointers.</a:t>
            </a:r>
          </a:p>
          <a:p>
            <a:pPr marL="381762" lvl="1" indent="-171450">
              <a:buFont typeface="Arial" panose="020B0604020202020204" pitchFamily="34" charset="0"/>
              <a:buChar char="•"/>
            </a:pPr>
            <a:r>
              <a:rPr lang="en-US" dirty="0"/>
              <a:t>8-byte Row-ID</a:t>
            </a:r>
            <a:r>
              <a:rPr lang="en-US" baseline="0" dirty="0"/>
              <a:t> assigned on insert. RID </a:t>
            </a:r>
            <a:r>
              <a:rPr lang="en-US" sz="882" b="0" i="0" kern="1200" baseline="0" dirty="0">
                <a:solidFill>
                  <a:schemeClr val="tx1"/>
                </a:solidFill>
                <a:effectLst/>
                <a:latin typeface="+mn-lt"/>
                <a:ea typeface="+mn-ea"/>
                <a:cs typeface="+mn-cs"/>
              </a:rPr>
              <a:t>consisting of the file number, data page number, and slot on the page. </a:t>
            </a:r>
            <a:endParaRPr lang="en-US" baseline="0" dirty="0"/>
          </a:p>
          <a:p>
            <a:pPr marL="381762" lvl="1" indent="-171450">
              <a:buFont typeface="Arial" panose="020B0604020202020204" pitchFamily="34" charset="0"/>
              <a:buChar char="•"/>
            </a:pPr>
            <a:r>
              <a:rPr lang="en-US" baseline="0" dirty="0"/>
              <a:t>Not great at all for table scans.</a:t>
            </a:r>
          </a:p>
          <a:p>
            <a:pPr marL="381762" lvl="1" indent="-171450">
              <a:buFont typeface="Arial" panose="020B0604020202020204" pitchFamily="34" charset="0"/>
              <a:buChar char="•"/>
            </a:pPr>
            <a:r>
              <a:rPr lang="en-US" baseline="0" dirty="0"/>
              <a:t>Sometimes expensive to find a spot where a row can be inserted.</a:t>
            </a:r>
          </a:p>
          <a:p>
            <a:pPr marL="381762" lvl="1" indent="-171450">
              <a:buFont typeface="Arial" panose="020B0604020202020204" pitchFamily="34" charset="0"/>
              <a:buChar char="•"/>
            </a:pPr>
            <a:r>
              <a:rPr lang="en-US" b="1" dirty="0"/>
              <a:t>Data pages are not linked</a:t>
            </a:r>
            <a:r>
              <a:rPr lang="en-US" dirty="0"/>
              <a:t>, </a:t>
            </a:r>
            <a:r>
              <a:rPr lang="en-US" u="sng" dirty="0"/>
              <a:t>so sequential access needs to refer to the index allocation map (IAM) pages</a:t>
            </a:r>
            <a:r>
              <a:rPr lang="en-US" u="none" dirty="0"/>
              <a:t>.</a:t>
            </a:r>
          </a:p>
          <a:p>
            <a:r>
              <a:rPr lang="en-US" dirty="0"/>
              <a:t>=============</a:t>
            </a:r>
          </a:p>
          <a:p>
            <a:r>
              <a:rPr lang="en-US" b="1" dirty="0"/>
              <a:t>More Information</a:t>
            </a:r>
          </a:p>
          <a:p>
            <a:r>
              <a:rPr lang="en-US" dirty="0"/>
              <a:t>=============</a:t>
            </a:r>
          </a:p>
          <a:p>
            <a:r>
              <a:rPr lang="en-US" sz="882" b="0" i="0" kern="1200" baseline="0" dirty="0">
                <a:solidFill>
                  <a:schemeClr val="tx1"/>
                </a:solidFill>
                <a:effectLst/>
                <a:latin typeface="+mn-lt"/>
                <a:ea typeface="+mn-ea"/>
                <a:cs typeface="+mn-cs"/>
              </a:rPr>
              <a:t>A heap is a table without a clustered index. </a:t>
            </a:r>
            <a:r>
              <a:rPr lang="en-US" sz="882" b="1" i="0" kern="1200" baseline="0" dirty="0">
                <a:solidFill>
                  <a:schemeClr val="tx1"/>
                </a:solidFill>
                <a:effectLst/>
                <a:latin typeface="+mn-lt"/>
                <a:ea typeface="+mn-ea"/>
                <a:cs typeface="+mn-cs"/>
              </a:rPr>
              <a:t>One or more nonclustered indexes can be created on tables stored as a heap</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Data is stored in the heap without specifying an order</a:t>
            </a:r>
            <a:r>
              <a:rPr lang="en-US" sz="882" b="0" i="0" kern="1200" baseline="0" dirty="0">
                <a:solidFill>
                  <a:schemeClr val="tx1"/>
                </a:solidFill>
                <a:effectLst/>
                <a:latin typeface="+mn-lt"/>
                <a:ea typeface="+mn-ea"/>
                <a:cs typeface="+mn-cs"/>
              </a:rPr>
              <a:t>. Usually data is </a:t>
            </a:r>
            <a:r>
              <a:rPr lang="en-US" sz="882" b="0" i="0" u="sng" kern="1200" baseline="0" dirty="0">
                <a:solidFill>
                  <a:schemeClr val="tx1"/>
                </a:solidFill>
                <a:effectLst/>
                <a:latin typeface="+mn-lt"/>
                <a:ea typeface="+mn-ea"/>
                <a:cs typeface="+mn-cs"/>
              </a:rPr>
              <a:t>initially stored in the order in which the rows are inserted into the tabl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a:t>
            </a:r>
            <a:r>
              <a:rPr lang="en-US" sz="882" b="0" i="0" kern="1200" baseline="0" dirty="0">
                <a:solidFill>
                  <a:schemeClr val="tx1"/>
                </a:solidFill>
                <a:effectLst/>
                <a:latin typeface="+mn-lt"/>
                <a:ea typeface="+mn-ea"/>
                <a:cs typeface="+mn-cs"/>
              </a:rPr>
              <a:t> the Database Engine </a:t>
            </a:r>
            <a:r>
              <a:rPr lang="en-US" sz="882" b="0" i="0" u="sng" kern="1200" baseline="0" dirty="0">
                <a:solidFill>
                  <a:schemeClr val="tx1"/>
                </a:solidFill>
                <a:effectLst/>
                <a:latin typeface="+mn-lt"/>
                <a:ea typeface="+mn-ea"/>
                <a:cs typeface="+mn-cs"/>
              </a:rPr>
              <a:t>can move data around in the heap to store the rows efficiently</a:t>
            </a:r>
            <a:r>
              <a:rPr lang="en-US" sz="882" b="0" i="0" kern="1200" baseline="0" dirty="0">
                <a:solidFill>
                  <a:schemeClr val="tx1"/>
                </a:solidFill>
                <a:effectLst/>
                <a:latin typeface="+mn-lt"/>
                <a:ea typeface="+mn-ea"/>
                <a:cs typeface="+mn-cs"/>
              </a:rPr>
              <a:t>; so the data </a:t>
            </a:r>
            <a:r>
              <a:rPr lang="en-US" sz="882" b="0" i="0" u="sng" kern="1200" baseline="0" dirty="0">
                <a:solidFill>
                  <a:schemeClr val="tx1"/>
                </a:solidFill>
                <a:effectLst/>
                <a:latin typeface="+mn-lt"/>
                <a:ea typeface="+mn-ea"/>
                <a:cs typeface="+mn-cs"/>
              </a:rPr>
              <a:t>order cannot be predicted</a:t>
            </a:r>
            <a:r>
              <a:rPr lang="en-US" sz="882" b="0" i="0" u="none"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rPr>
              <a:t>To guarantee the order of rows returned from a heap, you must use the </a:t>
            </a:r>
            <a:r>
              <a:rPr lang="en-US" sz="882" b="1" i="0" kern="1200" baseline="0" dirty="0">
                <a:solidFill>
                  <a:schemeClr val="tx1"/>
                </a:solidFill>
                <a:effectLst/>
                <a:latin typeface="+mn-lt"/>
                <a:ea typeface="+mn-ea"/>
                <a:cs typeface="+mn-cs"/>
              </a:rPr>
              <a:t>ORDER BY</a:t>
            </a:r>
            <a:r>
              <a:rPr lang="en-US" sz="882" b="0" i="0" kern="1200" baseline="0" dirty="0">
                <a:solidFill>
                  <a:schemeClr val="tx1"/>
                </a:solidFill>
                <a:effectLst/>
                <a:latin typeface="+mn-lt"/>
                <a:ea typeface="+mn-ea"/>
                <a:cs typeface="+mn-cs"/>
              </a:rPr>
              <a:t> clause. To specify the order for storage of the rows, create a clustered index on the table, so that the table is not a heap.</a:t>
            </a:r>
          </a:p>
          <a:p>
            <a:r>
              <a:rPr lang="en-US" sz="882" b="1" i="0" kern="1200" baseline="0" dirty="0">
                <a:solidFill>
                  <a:schemeClr val="tx1"/>
                </a:solidFill>
                <a:effectLst/>
                <a:latin typeface="+mn-lt"/>
                <a:ea typeface="+mn-ea"/>
                <a:cs typeface="+mn-cs"/>
              </a:rPr>
              <a:t>When Not to Use a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returned in a sorted order.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grouped together. Data must be sorted before it is grouped, and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ranges of data are frequently queried from the table. A clustered index on the range column will avoid sorting the entire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re are no nonclustered indexes and the table is large. In a heap, all rows of the heap must be read to find any row.</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3137709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endParaRPr lang="en-US"/>
          </a:p>
          <a:p>
            <a:pPr marL="381762" lvl="1" indent="-171450">
              <a:buFont typeface="Arial" panose="020B0604020202020204" pitchFamily="34" charset="0"/>
              <a:buChar char="•"/>
            </a:pPr>
            <a:r>
              <a:rPr lang="en-US"/>
              <a:t>Table scans or serial reads of a heap can be performed by scanning the IAM pages to find the extents that are holding pages for the heap.</a:t>
            </a:r>
          </a:p>
          <a:p>
            <a:pPr marL="381762" lvl="1" indent="-171450">
              <a:buFont typeface="Arial" panose="020B0604020202020204" pitchFamily="34" charset="0"/>
              <a:buChar char="•"/>
            </a:pPr>
            <a:r>
              <a:rPr lang="en-US"/>
              <a:t>Because the IAM represents extents in the same order that they exist in the data files, this means that serial heap scans progress sequentially through each file. </a:t>
            </a:r>
          </a:p>
          <a:p>
            <a:pPr marL="381762" lvl="1" indent="-171450">
              <a:buFont typeface="Arial" panose="020B0604020202020204" pitchFamily="34" charset="0"/>
              <a:buChar char="•"/>
            </a:pPr>
            <a:r>
              <a:rPr lang="en-US"/>
              <a:t>Using the IAM pages to set the scan sequence also means that rows from the heap are not typically returned in the order in which they were inserted.</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Queries retrieving data from Heap objects will read all pages on that table. This is a very expensive operation.</a:t>
            </a:r>
          </a:p>
          <a:p>
            <a:pPr marL="171450" indent="-171450">
              <a:buFont typeface="Arial" panose="020B0604020202020204" pitchFamily="34" charset="0"/>
              <a:buChar char="•"/>
            </a:pPr>
            <a:endParaRPr lang="en-US"/>
          </a:p>
          <a:p>
            <a:r>
              <a:rPr lang="en-US"/>
              <a:t>=============</a:t>
            </a:r>
          </a:p>
          <a:p>
            <a:r>
              <a:rPr lang="en-US" b="1"/>
              <a:t>More Information</a:t>
            </a:r>
          </a:p>
          <a:p>
            <a:r>
              <a:rPr lang="en-US"/>
              <a:t>=============</a:t>
            </a:r>
          </a:p>
          <a:p>
            <a:endParaRPr lang="en-US"/>
          </a:p>
          <a:p>
            <a:r>
              <a:rPr lang="en-US"/>
              <a:t>The Diagram in slide illustrates how the SQL Server Database Engine uses IAM pages to retrieve data rows in a single partition heap.</a:t>
            </a:r>
          </a:p>
          <a:p>
            <a:endParaRPr lang="en-US"/>
          </a:p>
          <a:p>
            <a:r>
              <a:rPr lang="en-US" sz="882" b="1" i="0" kern="1200" baseline="0">
                <a:solidFill>
                  <a:schemeClr val="tx1"/>
                </a:solidFill>
                <a:effectLst/>
                <a:latin typeface="+mn-lt"/>
                <a:ea typeface="+mn-ea"/>
                <a:cs typeface="+mn-cs"/>
              </a:rPr>
              <a:t>Depending on the data types in the heap, each heap structure will have one or more allocation units to store and manage the data for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At a minimum, </a:t>
            </a:r>
            <a:r>
              <a:rPr lang="en-US" sz="882" b="0" i="0" u="sng" kern="1200" baseline="0">
                <a:solidFill>
                  <a:schemeClr val="tx1"/>
                </a:solidFill>
                <a:effectLst/>
                <a:latin typeface="+mn-lt"/>
                <a:ea typeface="+mn-ea"/>
                <a:cs typeface="+mn-cs"/>
              </a:rPr>
              <a:t>each heap will have one IN_ROW_DATA allocation unit per partition</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heap </a:t>
            </a:r>
            <a:r>
              <a:rPr lang="en-US" sz="882" b="0" i="0" u="sng" kern="1200" baseline="0">
                <a:solidFill>
                  <a:schemeClr val="tx1"/>
                </a:solidFill>
                <a:effectLst/>
                <a:latin typeface="+mn-lt"/>
                <a:ea typeface="+mn-ea"/>
                <a:cs typeface="+mn-cs"/>
              </a:rPr>
              <a:t>will also have one LOB_DATA allocation unit per partition, </a:t>
            </a:r>
            <a:r>
              <a:rPr lang="en-US" sz="882" b="1" i="0" u="sng" kern="1200" baseline="0">
                <a:solidFill>
                  <a:schemeClr val="tx1"/>
                </a:solidFill>
                <a:effectLst/>
                <a:latin typeface="+mn-lt"/>
                <a:ea typeface="+mn-ea"/>
                <a:cs typeface="+mn-cs"/>
              </a:rPr>
              <a:t>if it contains large object (LOB) columns</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It will also </a:t>
            </a:r>
            <a:r>
              <a:rPr lang="en-US" sz="882" b="0" i="0" u="sng" kern="1200" baseline="0">
                <a:solidFill>
                  <a:schemeClr val="tx1"/>
                </a:solidFill>
                <a:effectLst/>
                <a:latin typeface="+mn-lt"/>
                <a:ea typeface="+mn-ea"/>
                <a:cs typeface="+mn-cs"/>
              </a:rPr>
              <a:t>have one ROW_OVERFLOW_DATA allocation unit per partition</a:t>
            </a:r>
            <a:r>
              <a:rPr lang="en-US" sz="882" b="0" i="0" u="none" kern="1200" baseline="0">
                <a:solidFill>
                  <a:schemeClr val="tx1"/>
                </a:solidFill>
                <a:effectLst/>
                <a:latin typeface="+mn-lt"/>
                <a:ea typeface="+mn-ea"/>
                <a:cs typeface="+mn-cs"/>
              </a:rPr>
              <a:t>, </a:t>
            </a:r>
            <a:r>
              <a:rPr lang="en-US" sz="882" b="1" i="0" kern="1200" baseline="0">
                <a:solidFill>
                  <a:schemeClr val="tx1"/>
                </a:solidFill>
                <a:effectLst/>
                <a:latin typeface="+mn-lt"/>
                <a:ea typeface="+mn-ea"/>
                <a:cs typeface="+mn-cs"/>
              </a:rPr>
              <a:t>if it contains variable length columns that exceed the 8,060 byte row size limit.</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column first_iam_page in the sys.system_internals_allocation_units system view points to the first IAM page in the chain of IAM pages that manage the space allocated to the heap in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SQL Server uses the IAM pages to move through the heap.</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1624261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12.emf"/></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4877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52931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5957056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928700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433987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44514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3744176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2416499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9306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4406345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186926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5893974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88887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8986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291126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236862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89265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6280101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B8420E5-9465-5E4D-A43C-4E3002B22E97}"/>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720127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747863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23924"/>
      </p:ext>
    </p:extLst>
  </p:cSld>
  <p:clrMapOvr>
    <a:masterClrMapping/>
  </p:clrMapOvr>
  <p:transition>
    <p:fade/>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277440"/>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22923301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2353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a:extLst>
              <a:ext uri="{FF2B5EF4-FFF2-40B4-BE49-F238E27FC236}">
                <a16:creationId xmlns:a16="http://schemas.microsoft.com/office/drawing/2014/main" id="{5A1C0299-4948-A8E9-0DB0-B8B7F450D9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67882531"/>
      </p:ext>
    </p:extLst>
  </p:cSld>
  <p:clrMapOvr>
    <a:masterClrMapping/>
  </p:clrMapOvr>
  <p:transition>
    <p:fade/>
  </p:transition>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754178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898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3612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59696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128266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111888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4895793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7985736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4312310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751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051903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1322268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71155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888079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0354644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493705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07955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732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1358096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5696562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77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873288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3494502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44996828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2718871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469720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198044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0390253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173176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311604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919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74210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5355316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231242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11224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328572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3862862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55208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029600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857916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86893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131531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5493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4951420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242418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2056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21570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769178"/>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133335"/>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6206540"/>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85743483"/>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25733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32578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96305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66602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1277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3968697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2245178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47742629"/>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5347469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58963594"/>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14151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345965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336623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531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310388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170108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5754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638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32345046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02988760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8894648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5624347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0983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135313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719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932776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933758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5513130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2291685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242724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439369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92570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462977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5548790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3976138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430909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17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9231220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374260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62385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458199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41601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89502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5952020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187714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159258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361753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80824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132544"/>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137738"/>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96857413"/>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6725385"/>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30760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084288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320934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082160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42984430"/>
      </p:ext>
    </p:extLst>
  </p:cSld>
  <p:clrMapOvr>
    <a:masterClrMapping/>
  </p:clrMapOvr>
  <p:hf sldNum="0" hdr="0" ftr="0" dt="0"/>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64918742"/>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5254841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5571846"/>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96643865"/>
      </p:ext>
    </p:extLst>
  </p:cSld>
  <p:clrMapOvr>
    <a:masterClrMapping/>
  </p:clrMapOvr>
  <p:hf sldNum="0" hdr="0" ftr="0" dt="0"/>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845576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2454749"/>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239826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911057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674660"/>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103296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60858598"/>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36102650"/>
      </p:ext>
    </p:extLst>
  </p:cSld>
  <p:clrMapOvr>
    <a:masterClrMapping/>
  </p:clrMapOvr>
  <p:hf sldNum="0" hdr="0" ftr="0" dt="0"/>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662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9780548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8592862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449854014"/>
      </p:ext>
    </p:extLst>
  </p:cSld>
  <p:clrMapOvr>
    <a:masterClrMapping/>
  </p:clrMapOvr>
  <p:hf sldNum="0" hdr="0" ftr="0" dt="0"/>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5951841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4602877"/>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7179183"/>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9232095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738328"/>
      </p:ext>
    </p:extLst>
  </p:cSld>
  <p:clrMapOvr>
    <a:masterClrMapping/>
  </p:clrMapOvr>
  <p:hf sldNum="0" hdr="0" ftr="0" dt="0"/>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94657097"/>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5145975"/>
      </p:ext>
    </p:extLst>
  </p:cSld>
  <p:clrMapOvr>
    <a:masterClrMapping/>
  </p:clrMapOvr>
  <p:hf sldNum="0" hdr="0" ftr="0" dt="0"/>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70771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11341446"/>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58314941"/>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80782148"/>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61119812"/>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800162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89889126"/>
      </p:ext>
    </p:extLst>
  </p:cSld>
  <p:clrMapOvr>
    <a:masterClrMapping/>
  </p:clrMapOvr>
  <p:hf sldNum="0" hdr="0" ftr="0" dt="0"/>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1371225"/>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7111530"/>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2011661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1980945"/>
      </p:ext>
    </p:extLst>
  </p:cSld>
  <p:clrMapOvr>
    <a:masterClrMapping/>
  </p:clrMapOvr>
  <p:hf sldNum="0" hdr="0" ftr="0" dt="0"/>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553947889"/>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6916935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523677"/>
      </p:ext>
    </p:extLst>
  </p:cSld>
  <p:clrMapOvr>
    <a:masterClrMapping/>
  </p:clrMapOvr>
  <p:hf sldNum="0" hdr="0" ftr="0" dt="0"/>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972123"/>
      </p:ext>
    </p:extLst>
  </p:cSld>
  <p:clrMapOvr>
    <a:masterClrMapping/>
  </p:clrMapOvr>
  <p:hf sldNum="0" hdr="0" ftr="0" dt="0"/>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46519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652062"/>
      </p:ext>
    </p:extLst>
  </p:cSld>
  <p:clrMapOvr>
    <a:masterClrMapping/>
  </p:clrMapOvr>
  <p:hf sldNum="0" hdr="0" ftr="0" dt="0"/>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644878"/>
      </p:ext>
    </p:extLst>
  </p:cSld>
  <p:clrMapOvr>
    <a:masterClrMapping/>
  </p:clrMapOvr>
  <p:hf sldNum="0" hdr="0" ftr="0" dt="0"/>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75113463"/>
      </p:ext>
    </p:extLst>
  </p:cSld>
  <p:clrMapOvr>
    <a:masterClrMapping/>
  </p:clrMapOvr>
  <p:hf sldNum="0" hdr="0" ftr="0" dt="0"/>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76231467"/>
      </p:ext>
    </p:extLst>
  </p:cSld>
  <p:clrMapOvr>
    <a:masterClrMapping/>
  </p:clrMapOvr>
  <p:hf sldNum="0" hdr="0" ftr="0" dt="0"/>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082052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70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101014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017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0941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55552653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6007780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49457658"/>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319788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7771805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58460824"/>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56123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14849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81570211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6372315"/>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18212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6174121"/>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41948981"/>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1787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08292351"/>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663769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580562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98774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60560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D3D2B6B-AC11-2B76-1169-C96D6A654F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1561414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5464489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61179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7544058"/>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555477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46082378"/>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079801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4553759"/>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1134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706192261"/>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E7A6B8F-D1A1-7D0C-E3AA-991519746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49937582"/>
      </p:ext>
    </p:extLst>
  </p:cSld>
  <p:clrMapOvr>
    <a:masterClrMapping/>
  </p:clrMapOvr>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04069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492CCE05-D8A7-C9AE-5937-8233E8FC47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527790"/>
      </p:ext>
    </p:extLst>
  </p:cSld>
  <p:clrMapOvr>
    <a:masterClrMapping/>
  </p:clrMapOvr>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FAE415F-FDC4-A9C2-5496-7B3AE34C87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9084887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2C96D63-E62D-1C0D-749E-255E0F38B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5796634"/>
      </p:ext>
    </p:extLst>
  </p:cSld>
  <p:clrMapOvr>
    <a:masterClrMapping/>
  </p:clrMapOvr>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5481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8114250"/>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3120516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4362465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132436"/>
      </p:ext>
    </p:extLst>
  </p:cSld>
  <p:clrMapOvr>
    <a:masterClrMapping/>
  </p:clrMapOvr>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706514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187137284"/>
      </p:ext>
    </p:extLst>
  </p:cSld>
  <p:clrMapOvr>
    <a:masterClrMapping/>
  </p:clrMapOvr>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12469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83245026"/>
      </p:ext>
    </p:extLst>
  </p:cSld>
  <p:clrMapOvr>
    <a:masterClrMapping/>
  </p:clrMapOvr>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6162039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673379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81250791"/>
      </p:ext>
    </p:extLst>
  </p:cSld>
  <p:clrMapOvr>
    <a:masterClrMapping/>
  </p:clrMapOvr>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355761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7269727"/>
      </p:ext>
    </p:extLst>
  </p:cSld>
  <p:clrMapOvr>
    <a:masterClrMapping/>
  </p:clrMapOvr>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6781148"/>
      </p:ext>
    </p:extLst>
  </p:cSld>
  <p:clrMapOvr>
    <a:masterClrMapping/>
  </p:clrMapOvr>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273385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5862374"/>
      </p:ext>
    </p:extLst>
  </p:cSld>
  <p:clrMapOvr>
    <a:masterClrMapping/>
  </p:clrMapOvr>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05752780"/>
      </p:ext>
    </p:extLst>
  </p:cSld>
  <p:clrMapOvr>
    <a:masterClrMapping/>
  </p:clrMapOvr>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936790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30649036"/>
      </p:ext>
    </p:extLst>
  </p:cSld>
  <p:clrMapOvr>
    <a:masterClrMapping/>
  </p:clrMapOvr>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5539761"/>
      </p:ext>
    </p:extLst>
  </p:cSld>
  <p:clrMapOvr>
    <a:masterClrMapping/>
  </p:clrMapOvr>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54613553"/>
      </p:ext>
    </p:extLst>
  </p:cSld>
  <p:clrMapOvr>
    <a:masterClrMapping/>
  </p:clrMapOvr>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8367122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6721641"/>
      </p:ext>
    </p:extLst>
  </p:cSld>
  <p:clrMapOvr>
    <a:masterClrMapping/>
  </p:clrMapOvr>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242186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0762577"/>
      </p:ext>
    </p:extLst>
  </p:cSld>
  <p:clrMapOvr>
    <a:masterClrMapping/>
  </p:clrMapOvr>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374856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207705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76271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35537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8369758"/>
      </p:ext>
    </p:extLst>
  </p:cSld>
  <p:clrMapOvr>
    <a:masterClrMapping/>
  </p:clrMapOvr>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9085E81-4490-F4FD-4DF1-865944E49B81}"/>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357229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DDA17A5-DB07-D459-2D47-A865CB4B4115}"/>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719767"/>
      </p:ext>
    </p:extLst>
  </p:cSld>
  <p:clrMapOvr>
    <a:masterClrMapping/>
  </p:clrMapOvr>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4152"/>
      </p:ext>
    </p:extLst>
  </p:cSld>
  <p:clrMapOvr>
    <a:masterClrMapping/>
  </p:clrMapOvr>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53056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0693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336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3278114-C5A6-212B-0976-8AF5FF5AE838}"/>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875209665"/>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41EF0D38-554F-01D1-7999-00EB3399F1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74930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6824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491966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662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7666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012516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3577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786806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23901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55073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78824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32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699519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0139581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839012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989588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002198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36271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87404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362124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88187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78358920"/>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716320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9076900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5332756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5953956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286444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1791505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151474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1176177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tags" Target="../tags/tag3.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theme" Target="../theme/theme2.xml"/><Relationship Id="rId58" Type="http://schemas.openxmlformats.org/officeDocument/2006/relationships/tags" Target="../tags/tag6.xml"/><Relationship Id="rId5" Type="http://schemas.openxmlformats.org/officeDocument/2006/relationships/slideLayout" Target="../slideLayouts/slideLayout30.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tags" Target="../tags/tag4.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image" Target="../media/image5.emf"/><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tags" Target="../tags/tag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tags" Target="../tags/tag5.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slideLayout" Target="../slideLayouts/slideLayout119.xml"/><Relationship Id="rId47" Type="http://schemas.openxmlformats.org/officeDocument/2006/relationships/slideLayout" Target="../slideLayouts/slideLayout124.xml"/><Relationship Id="rId50" Type="http://schemas.openxmlformats.org/officeDocument/2006/relationships/tags" Target="../tags/tag8.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9" Type="http://schemas.openxmlformats.org/officeDocument/2006/relationships/slideLayout" Target="../slideLayouts/slideLayout106.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53" Type="http://schemas.openxmlformats.org/officeDocument/2006/relationships/image" Target="../media/image1.png"/><Relationship Id="rId5" Type="http://schemas.openxmlformats.org/officeDocument/2006/relationships/slideLayout" Target="../slideLayouts/slideLayout8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52" Type="http://schemas.openxmlformats.org/officeDocument/2006/relationships/image" Target="../media/image5.emf"/><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theme" Target="../theme/theme3.xml"/><Relationship Id="rId8" Type="http://schemas.openxmlformats.org/officeDocument/2006/relationships/slideLayout" Target="../slideLayouts/slideLayout85.xml"/><Relationship Id="rId51" Type="http://schemas.openxmlformats.org/officeDocument/2006/relationships/tags" Target="../tags/tag9.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20" Type="http://schemas.openxmlformats.org/officeDocument/2006/relationships/slideLayout" Target="../slideLayouts/slideLayout97.xml"/><Relationship Id="rId41" Type="http://schemas.openxmlformats.org/officeDocument/2006/relationships/slideLayout" Target="../slideLayouts/slideLayout118.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slideLayout" Target="../slideLayouts/slideLayout166.xml"/><Relationship Id="rId47" Type="http://schemas.openxmlformats.org/officeDocument/2006/relationships/theme" Target="../theme/theme4.xml"/><Relationship Id="rId50" Type="http://schemas.openxmlformats.org/officeDocument/2006/relationships/tags" Target="../tags/tag12.xml"/><Relationship Id="rId7" Type="http://schemas.openxmlformats.org/officeDocument/2006/relationships/slideLayout" Target="../slideLayouts/slideLayout13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9" Type="http://schemas.openxmlformats.org/officeDocument/2006/relationships/slideLayout" Target="../slideLayouts/slideLayout153.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45" Type="http://schemas.openxmlformats.org/officeDocument/2006/relationships/slideLayout" Target="../slideLayouts/slideLayout169.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49" Type="http://schemas.openxmlformats.org/officeDocument/2006/relationships/tags" Target="../tags/tag11.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4" Type="http://schemas.openxmlformats.org/officeDocument/2006/relationships/slideLayout" Target="../slideLayouts/slideLayout168.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slideLayout" Target="../slideLayouts/slideLayout167.xml"/><Relationship Id="rId48" Type="http://schemas.openxmlformats.org/officeDocument/2006/relationships/tags" Target="../tags/tag10.xml"/><Relationship Id="rId8" Type="http://schemas.openxmlformats.org/officeDocument/2006/relationships/slideLayout" Target="../slideLayouts/slideLayout132.xml"/><Relationship Id="rId51" Type="http://schemas.openxmlformats.org/officeDocument/2006/relationships/image" Target="../media/image5.emf"/><Relationship Id="rId3" Type="http://schemas.openxmlformats.org/officeDocument/2006/relationships/slideLayout" Target="../slideLayouts/slideLayout127.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 Id="rId46" Type="http://schemas.openxmlformats.org/officeDocument/2006/relationships/slideLayout" Target="../slideLayouts/slideLayout170.xml"/><Relationship Id="rId20" Type="http://schemas.openxmlformats.org/officeDocument/2006/relationships/slideLayout" Target="../slideLayouts/slideLayout144.xml"/><Relationship Id="rId41" Type="http://schemas.openxmlformats.org/officeDocument/2006/relationships/slideLayout" Target="../slideLayouts/slideLayout165.xml"/><Relationship Id="rId1" Type="http://schemas.openxmlformats.org/officeDocument/2006/relationships/slideLayout" Target="../slideLayouts/slideLayout125.xml"/><Relationship Id="rId6" Type="http://schemas.openxmlformats.org/officeDocument/2006/relationships/slideLayout" Target="../slideLayouts/slideLayout13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tags" Target="../tags/tag14.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theme" Target="../theme/theme5.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image" Target="../media/image5.emf"/><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tags" Target="../tags/tag15.xml"/><Relationship Id="rId8" Type="http://schemas.openxmlformats.org/officeDocument/2006/relationships/slideLayout" Target="../slideLayouts/slideLayout178.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tags" Target="../tags/tag13.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1" Type="http://schemas.openxmlformats.org/officeDocument/2006/relationships/slideLayout" Target="../slideLayouts/slideLayout171.xml"/><Relationship Id="rId6" Type="http://schemas.openxmlformats.org/officeDocument/2006/relationships/slideLayout" Target="../slideLayouts/slideLayout17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50" Type="http://schemas.openxmlformats.org/officeDocument/2006/relationships/slideLayout" Target="../slideLayouts/slideLayout264.xml"/><Relationship Id="rId55" Type="http://schemas.openxmlformats.org/officeDocument/2006/relationships/theme" Target="../theme/theme6.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9" Type="http://schemas.openxmlformats.org/officeDocument/2006/relationships/slideLayout" Target="../slideLayouts/slideLayout243.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3" Type="http://schemas.openxmlformats.org/officeDocument/2006/relationships/slideLayout" Target="../slideLayouts/slideLayout267.xml"/><Relationship Id="rId58" Type="http://schemas.openxmlformats.org/officeDocument/2006/relationships/tags" Target="../tags/tag18.xml"/><Relationship Id="rId5" Type="http://schemas.openxmlformats.org/officeDocument/2006/relationships/slideLayout" Target="../slideLayouts/slideLayout219.xml"/><Relationship Id="rId61" Type="http://schemas.openxmlformats.org/officeDocument/2006/relationships/image" Target="../media/image5.emf"/><Relationship Id="rId19" Type="http://schemas.openxmlformats.org/officeDocument/2006/relationships/slideLayout" Target="../slideLayouts/slideLayout23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slideLayout" Target="../slideLayouts/slideLayout262.xml"/><Relationship Id="rId56" Type="http://schemas.openxmlformats.org/officeDocument/2006/relationships/tags" Target="../tags/tag16.xml"/><Relationship Id="rId8" Type="http://schemas.openxmlformats.org/officeDocument/2006/relationships/slideLayout" Target="../slideLayouts/slideLayout222.xml"/><Relationship Id="rId51" Type="http://schemas.openxmlformats.org/officeDocument/2006/relationships/slideLayout" Target="../slideLayouts/slideLayout265.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59" Type="http://schemas.openxmlformats.org/officeDocument/2006/relationships/tags" Target="../tags/tag19.xml"/><Relationship Id="rId20" Type="http://schemas.openxmlformats.org/officeDocument/2006/relationships/slideLayout" Target="../slideLayouts/slideLayout234.xml"/><Relationship Id="rId41" Type="http://schemas.openxmlformats.org/officeDocument/2006/relationships/slideLayout" Target="../slideLayouts/slideLayout255.xml"/><Relationship Id="rId54" Type="http://schemas.openxmlformats.org/officeDocument/2006/relationships/slideLayout" Target="../slideLayouts/slideLayout268.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slideLayout" Target="../slideLayouts/slideLayout263.xml"/><Relationship Id="rId57" Type="http://schemas.openxmlformats.org/officeDocument/2006/relationships/tags" Target="../tags/tag17.xml"/><Relationship Id="rId10" Type="http://schemas.openxmlformats.org/officeDocument/2006/relationships/slideLayout" Target="../slideLayouts/slideLayout224.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52" Type="http://schemas.openxmlformats.org/officeDocument/2006/relationships/slideLayout" Target="../slideLayouts/slideLayout266.xml"/><Relationship Id="rId60" Type="http://schemas.openxmlformats.org/officeDocument/2006/relationships/tags" Target="../tags/tag20.xml"/><Relationship Id="rId4" Type="http://schemas.openxmlformats.org/officeDocument/2006/relationships/slideLayout" Target="../slideLayouts/slideLayout218.xml"/><Relationship Id="rId9" Type="http://schemas.openxmlformats.org/officeDocument/2006/relationships/slideLayout" Target="../slideLayouts/slideLayout22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5" Type="http://schemas.openxmlformats.org/officeDocument/2006/relationships/slideLayout" Target="../slideLayouts/slideLayout273.xml"/><Relationship Id="rId10" Type="http://schemas.openxmlformats.org/officeDocument/2006/relationships/image" Target="../media/image9.png"/><Relationship Id="rId4" Type="http://schemas.openxmlformats.org/officeDocument/2006/relationships/slideLayout" Target="../slideLayouts/slideLayout272.xml"/><Relationship Id="rId9" Type="http://schemas.openxmlformats.org/officeDocument/2006/relationships/image" Target="../media/image8.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78.xml"/><Relationship Id="rId2" Type="http://schemas.openxmlformats.org/officeDocument/2006/relationships/slideLayout" Target="../slideLayouts/slideLayout277.xml"/><Relationship Id="rId1" Type="http://schemas.openxmlformats.org/officeDocument/2006/relationships/slideLayout" Target="../slideLayouts/slideLayout276.xml"/><Relationship Id="rId6" Type="http://schemas.openxmlformats.org/officeDocument/2006/relationships/theme" Target="../theme/theme8.xml"/><Relationship Id="rId5" Type="http://schemas.openxmlformats.org/officeDocument/2006/relationships/slideLayout" Target="../slideLayouts/slideLayout280.xml"/><Relationship Id="rId4" Type="http://schemas.openxmlformats.org/officeDocument/2006/relationships/slideLayout" Target="../slideLayouts/slideLayout2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8.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image" Target="../media/image9.png"/><Relationship Id="rId5" Type="http://schemas.openxmlformats.org/officeDocument/2006/relationships/slideLayout" Target="../slideLayouts/slideLayout285.xml"/><Relationship Id="rId10" Type="http://schemas.openxmlformats.org/officeDocument/2006/relationships/image" Target="../media/image8.emf"/><Relationship Id="rId4" Type="http://schemas.openxmlformats.org/officeDocument/2006/relationships/slideLayout" Target="../slideLayouts/slideLayout284.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0254417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4AC11C88-7495-5D5A-5554-4F70C0CB1717}"/>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970D9AEE-952E-5745-1724-A639123657DA}"/>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8462812"/>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 id="2147483922" r:id="rId31"/>
    <p:sldLayoutId id="2147483923" r:id="rId32"/>
    <p:sldLayoutId id="2147483924" r:id="rId33"/>
    <p:sldLayoutId id="2147483925" r:id="rId34"/>
    <p:sldLayoutId id="2147483926" r:id="rId35"/>
    <p:sldLayoutId id="2147483927" r:id="rId36"/>
    <p:sldLayoutId id="2147483928" r:id="rId37"/>
    <p:sldLayoutId id="2147483929" r:id="rId38"/>
    <p:sldLayoutId id="2147483930" r:id="rId39"/>
    <p:sldLayoutId id="2147483931" r:id="rId40"/>
    <p:sldLayoutId id="2147483932" r:id="rId41"/>
    <p:sldLayoutId id="2147483933" r:id="rId42"/>
    <p:sldLayoutId id="2147483934" r:id="rId43"/>
    <p:sldLayoutId id="2147483935" r:id="rId44"/>
    <p:sldLayoutId id="2147483936" r:id="rId45"/>
    <p:sldLayoutId id="2147483937" r:id="rId46"/>
    <p:sldLayoutId id="2147483744" r:id="rId47"/>
    <p:sldLayoutId id="2147483707" r:id="rId48"/>
    <p:sldLayoutId id="2147483708" r:id="rId49"/>
    <p:sldLayoutId id="2147483737" r:id="rId50"/>
    <p:sldLayoutId id="2147483727" r:id="rId51"/>
    <p:sldLayoutId id="2147484194"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AC6C76C2-AECC-BF77-1412-052A09A1A358}"/>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0343042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 id="2147484033" r:id="rId47"/>
  </p:sldLayoutIdLst>
  <p:transition>
    <p:fade/>
  </p:transition>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802873"/>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0" r:id="rId33"/>
    <p:sldLayoutId id="2147484071" r:id="rId34"/>
    <p:sldLayoutId id="2147484072" r:id="rId35"/>
    <p:sldLayoutId id="2147484073" r:id="rId36"/>
    <p:sldLayoutId id="2147484074" r:id="rId37"/>
    <p:sldLayoutId id="2147484075" r:id="rId38"/>
    <p:sldLayoutId id="2147484076" r:id="rId39"/>
    <p:sldLayoutId id="2147484077" r:id="rId40"/>
    <p:sldLayoutId id="2147484078" r:id="rId41"/>
    <p:sldLayoutId id="2147484079" r:id="rId42"/>
    <p:sldLayoutId id="2147484080" r:id="rId43"/>
    <p:sldLayoutId id="2147484081" r:id="rId44"/>
    <p:sldLayoutId id="2147484083" r:id="rId45"/>
    <p:sldLayoutId id="2147483889" r:id="rId46"/>
  </p:sldLayoutIdLst>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1882851"/>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 id="2147484116" r:id="rId31"/>
    <p:sldLayoutId id="2147484117" r:id="rId32"/>
    <p:sldLayoutId id="2147484118" r:id="rId33"/>
    <p:sldLayoutId id="2147484119" r:id="rId34"/>
    <p:sldLayoutId id="2147484120" r:id="rId35"/>
    <p:sldLayoutId id="2147484121" r:id="rId36"/>
    <p:sldLayoutId id="2147484122" r:id="rId37"/>
    <p:sldLayoutId id="2147484123" r:id="rId38"/>
    <p:sldLayoutId id="2147484124" r:id="rId39"/>
    <p:sldLayoutId id="2147484125" r:id="rId40"/>
    <p:sldLayoutId id="2147484126" r:id="rId41"/>
    <p:sldLayoutId id="2147484127" r:id="rId42"/>
    <p:sldLayoutId id="2147484128" r:id="rId43"/>
    <p:sldLayoutId id="2147484129"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87734974"/>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 id="2147484157" r:id="rId27"/>
    <p:sldLayoutId id="2147484158" r:id="rId28"/>
    <p:sldLayoutId id="2147484159" r:id="rId29"/>
    <p:sldLayoutId id="2147484160" r:id="rId30"/>
    <p:sldLayoutId id="2147484161" r:id="rId31"/>
    <p:sldLayoutId id="2147484162" r:id="rId32"/>
    <p:sldLayoutId id="2147484163" r:id="rId33"/>
    <p:sldLayoutId id="2147484164" r:id="rId34"/>
    <p:sldLayoutId id="2147484165" r:id="rId35"/>
    <p:sldLayoutId id="2147484166" r:id="rId36"/>
    <p:sldLayoutId id="2147484167" r:id="rId37"/>
    <p:sldLayoutId id="2147484168" r:id="rId38"/>
    <p:sldLayoutId id="2147484169" r:id="rId39"/>
    <p:sldLayoutId id="2147484170" r:id="rId40"/>
    <p:sldLayoutId id="2147484171" r:id="rId41"/>
    <p:sldLayoutId id="2147484172" r:id="rId42"/>
    <p:sldLayoutId id="2147484173" r:id="rId43"/>
    <p:sldLayoutId id="2147484174" r:id="rId44"/>
    <p:sldLayoutId id="2147484175" r:id="rId45"/>
    <p:sldLayoutId id="2147484176" r:id="rId46"/>
    <p:sldLayoutId id="2147484177" r:id="rId47"/>
    <p:sldLayoutId id="2147484178" r:id="rId48"/>
    <p:sldLayoutId id="2147484179" r:id="rId49"/>
    <p:sldLayoutId id="2147484180" r:id="rId50"/>
    <p:sldLayoutId id="2147484181" r:id="rId51"/>
    <p:sldLayoutId id="2147484182" r:id="rId52"/>
    <p:sldLayoutId id="2147484183" r:id="rId53"/>
    <p:sldLayoutId id="2147484184"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313107097"/>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1" r:id="rId5"/>
    <p:sldLayoutId id="2147484192" r:id="rId6"/>
    <p:sldLayoutId id="2147484193" r:id="rId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60871934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951822960"/>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3.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notesSlide" Target="../notesSlides/notesSlide11.xml"/><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5.xml"/><Relationship Id="rId1" Type="http://schemas.openxmlformats.org/officeDocument/2006/relationships/tags" Target="../tags/tag24.xml"/><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7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gif"/><Relationship Id="rId1" Type="http://schemas.openxmlformats.org/officeDocument/2006/relationships/slideLayout" Target="../slideLayouts/slideLayout77.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85.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5.xml"/><Relationship Id="rId1" Type="http://schemas.openxmlformats.org/officeDocument/2006/relationships/tags" Target="../tags/tag25.xml"/><Relationship Id="rId4"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34.xml"/><Relationship Id="rId5" Type="http://schemas.openxmlformats.org/officeDocument/2006/relationships/image" Target="../media/image37.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44.jpeg"/><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13.png"/><Relationship Id="rId2" Type="http://schemas.openxmlformats.org/officeDocument/2006/relationships/customXml" Target="../../customXml/item16.xml"/><Relationship Id="rId1" Type="http://schemas.openxmlformats.org/officeDocument/2006/relationships/tags" Target="../tags/tag28.xml"/><Relationship Id="rId6" Type="http://schemas.openxmlformats.org/officeDocument/2006/relationships/notesSlide" Target="../notesSlides/notesSlide22.xml"/><Relationship Id="rId5" Type="http://schemas.openxmlformats.org/officeDocument/2006/relationships/slideLayout" Target="../slideLayouts/slideLayout34.xml"/><Relationship Id="rId4" Type="http://schemas.openxmlformats.org/officeDocument/2006/relationships/tags" Target="../tags/tag2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3.xml"/><Relationship Id="rId1" Type="http://schemas.openxmlformats.org/officeDocument/2006/relationships/slideLayout" Target="../slideLayouts/slideLayout3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6.xml"/><Relationship Id="rId1" Type="http://schemas.openxmlformats.org/officeDocument/2006/relationships/slideLayout" Target="../slideLayouts/slideLayout3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7.xml"/><Relationship Id="rId1" Type="http://schemas.openxmlformats.org/officeDocument/2006/relationships/slideLayout" Target="../slideLayouts/slideLayout3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 Id="rId9"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38.xml"/><Relationship Id="rId5" Type="http://schemas.openxmlformats.org/officeDocument/2006/relationships/image" Target="../media/image49.png"/><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38.xm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5.xml"/><Relationship Id="rId1" Type="http://schemas.openxmlformats.org/officeDocument/2006/relationships/tags" Target="../tags/tag30.xml"/><Relationship Id="rId4" Type="http://schemas.openxmlformats.org/officeDocument/2006/relationships/image" Target="../media/image27.jpe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34.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34.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5.xml"/><Relationship Id="rId1" Type="http://schemas.openxmlformats.org/officeDocument/2006/relationships/tags" Target="../tags/tag31.xml"/><Relationship Id="rId4" Type="http://schemas.openxmlformats.org/officeDocument/2006/relationships/image" Target="../media/image27.jpe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6.xml"/><Relationship Id="rId1" Type="http://schemas.openxmlformats.org/officeDocument/2006/relationships/slideLayout" Target="../slideLayouts/slideLayout3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5.xml"/><Relationship Id="rId1" Type="http://schemas.openxmlformats.org/officeDocument/2006/relationships/tags" Target="../tags/tag32.xml"/><Relationship Id="rId4" Type="http://schemas.openxmlformats.org/officeDocument/2006/relationships/image" Target="../media/image27.jpe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4.jpeg"/><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customXml" Target="../../customXml/item19.xml"/><Relationship Id="rId7" Type="http://schemas.openxmlformats.org/officeDocument/2006/relationships/image" Target="../media/image13.png"/><Relationship Id="rId2" Type="http://schemas.openxmlformats.org/officeDocument/2006/relationships/customXml" Target="../../customXml/item18.xml"/><Relationship Id="rId1" Type="http://schemas.openxmlformats.org/officeDocument/2006/relationships/tags" Target="../tags/tag35.xml"/><Relationship Id="rId6" Type="http://schemas.openxmlformats.org/officeDocument/2006/relationships/notesSlide" Target="../notesSlides/notesSlide39.xml"/><Relationship Id="rId5" Type="http://schemas.openxmlformats.org/officeDocument/2006/relationships/slideLayout" Target="../slideLayouts/slideLayout34.xml"/><Relationship Id="rId4" Type="http://schemas.openxmlformats.org/officeDocument/2006/relationships/tags" Target="../tags/tag36.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0.xml"/><Relationship Id="rId1" Type="http://schemas.openxmlformats.org/officeDocument/2006/relationships/slideLayout" Target="../slideLayouts/slideLayout3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3.png"/><Relationship Id="rId2" Type="http://schemas.openxmlformats.org/officeDocument/2006/relationships/customXml" Target="../../customXml/item14.xml"/><Relationship Id="rId1" Type="http://schemas.openxmlformats.org/officeDocument/2006/relationships/tags" Target="../tags/tag22.xml"/><Relationship Id="rId6" Type="http://schemas.openxmlformats.org/officeDocument/2006/relationships/notesSlide" Target="../notesSlides/notesSlide4.xml"/><Relationship Id="rId5" Type="http://schemas.openxmlformats.org/officeDocument/2006/relationships/slideLayout" Target="../slideLayouts/slideLayout34.xml"/><Relationship Id="rId4" Type="http://schemas.openxmlformats.org/officeDocument/2006/relationships/tags" Target="../tags/tag23.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4.xml"/><Relationship Id="rId1" Type="http://schemas.openxmlformats.org/officeDocument/2006/relationships/slideLayout" Target="../slideLayouts/slideLayout3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5.xml"/><Relationship Id="rId1" Type="http://schemas.openxmlformats.org/officeDocument/2006/relationships/slideLayout" Target="../slideLayouts/slideLayout34.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6.xml"/><Relationship Id="rId1" Type="http://schemas.openxmlformats.org/officeDocument/2006/relationships/slideLayout" Target="../slideLayouts/slideLayout34.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7.xml"/><Relationship Id="rId1" Type="http://schemas.openxmlformats.org/officeDocument/2006/relationships/slideLayout" Target="../slideLayouts/slideLayout3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8.xml"/><Relationship Id="rId1" Type="http://schemas.openxmlformats.org/officeDocument/2006/relationships/slideLayout" Target="../slideLayouts/slideLayout3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 Id="rId9" Type="http://schemas.openxmlformats.org/officeDocument/2006/relationships/image" Target="../media/image58.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5.xml"/><Relationship Id="rId1" Type="http://schemas.openxmlformats.org/officeDocument/2006/relationships/tags" Target="../tags/tag37.xml"/><Relationship Id="rId4" Type="http://schemas.openxmlformats.org/officeDocument/2006/relationships/image" Target="../media/image27.jpe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59.png"/><Relationship Id="rId4" Type="http://schemas.openxmlformats.org/officeDocument/2006/relationships/notesSlide" Target="../notesSlides/notesSlide50.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4.jpeg"/><Relationship Id="rId4" Type="http://schemas.openxmlformats.org/officeDocument/2006/relationships/notesSlide" Target="../notesSlides/notesSlide51.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2.xml"/><Relationship Id="rId1" Type="http://schemas.openxmlformats.org/officeDocument/2006/relationships/slideLayout" Target="../slideLayouts/slideLayout39.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77.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a:t>SQL Server Index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5</a:t>
            </a:r>
            <a:endParaRPr lang="en-US" dirty="0"/>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Heap Struct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prstGeom prst="rect">
            <a:avLst/>
          </a:prstGeom>
        </p:spPr>
        <p:txBody>
          <a:bodyPr>
            <a:normAutofit/>
          </a:bodyPr>
          <a:lstStyle/>
          <a:p>
            <a:r>
              <a:rPr lang="en-US"/>
              <a:t>Heaps have one row in </a:t>
            </a:r>
            <a:r>
              <a:rPr lang="en-US">
                <a:solidFill>
                  <a:srgbClr val="107C10"/>
                </a:solidFill>
              </a:rPr>
              <a:t>sys</a:t>
            </a:r>
            <a:r>
              <a:rPr lang="en-US"/>
              <a:t>.</a:t>
            </a:r>
            <a:r>
              <a:rPr lang="en-US">
                <a:solidFill>
                  <a:srgbClr val="107C10"/>
                </a:solidFill>
              </a:rPr>
              <a:t>partitions</a:t>
            </a:r>
            <a:r>
              <a:rPr lang="en-US"/>
              <a:t>, with index_id = 0 for each partition used by the heap</a:t>
            </a:r>
          </a:p>
        </p:txBody>
      </p:sp>
      <p:pic>
        <p:nvPicPr>
          <p:cNvPr id="9" name="Content Placeholder 8">
            <a:extLst>
              <a:ext uri="{FF2B5EF4-FFF2-40B4-BE49-F238E27FC236}">
                <a16:creationId xmlns:a16="http://schemas.microsoft.com/office/drawing/2014/main" id="{C7689798-9D65-4F55-8F33-30A720234451}"/>
              </a:ext>
            </a:extLst>
          </p:cNvPr>
          <p:cNvPicPr>
            <a:picLocks noGrp="1" noChangeAspect="1"/>
          </p:cNvPicPr>
          <p:nvPr>
            <p:ph type="pic" sz="quarter" idx="22"/>
          </p:nvPr>
        </p:nvPicPr>
        <p:blipFill rotWithShape="1">
          <a:blip r:embed="rId3"/>
          <a:srcRect t="9434" b="9434"/>
          <a:stretch/>
        </p:blipFill>
        <p:spPr>
          <a:prstGeom prst="rect">
            <a:avLst/>
          </a:prstGeom>
          <a:noFill/>
        </p:spPr>
      </p:pic>
      <p:pic>
        <p:nvPicPr>
          <p:cNvPr id="5" name="Picture 4">
            <a:extLst>
              <a:ext uri="{FF2B5EF4-FFF2-40B4-BE49-F238E27FC236}">
                <a16:creationId xmlns:a16="http://schemas.microsoft.com/office/drawing/2014/main" id="{CA9BE8B1-2103-462D-9304-31D76C834B7F}"/>
              </a:ext>
            </a:extLst>
          </p:cNvPr>
          <p:cNvPicPr>
            <a:picLocks noChangeAspect="1"/>
          </p:cNvPicPr>
          <p:nvPr/>
        </p:nvPicPr>
        <p:blipFill rotWithShape="1">
          <a:blip r:embed="rId4"/>
          <a:srcRect r="2" b="8288"/>
          <a:stretch/>
        </p:blipFill>
        <p:spPr>
          <a:xfrm>
            <a:off x="6705853" y="2336418"/>
            <a:ext cx="4815269" cy="3113470"/>
          </a:xfrm>
          <a:prstGeom prst="rect">
            <a:avLst/>
          </a:prstGeom>
          <a:noFill/>
        </p:spPr>
      </p:pic>
    </p:spTree>
    <p:extLst>
      <p:ext uri="{BB962C8B-B14F-4D97-AF65-F5344CB8AC3E}">
        <p14:creationId xmlns:p14="http://schemas.microsoft.com/office/powerpoint/2010/main" val="2390424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Clustered Indexes</a:t>
            </a:r>
          </a:p>
        </p:txBody>
      </p:sp>
      <p:graphicFrame>
        <p:nvGraphicFramePr>
          <p:cNvPr id="4" name="Diagram 3">
            <a:extLst>
              <a:ext uri="{FF2B5EF4-FFF2-40B4-BE49-F238E27FC236}">
                <a16:creationId xmlns:a16="http://schemas.microsoft.com/office/drawing/2014/main" id="{B3909D50-ACB2-47A5-A429-0624B0D4F7F5}"/>
              </a:ext>
            </a:extLst>
          </p:cNvPr>
          <p:cNvGraphicFramePr/>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53955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44F0C0-800C-4CF4-B37B-B6BE787F6327}"/>
              </a:ext>
            </a:extLst>
          </p:cNvPr>
          <p:cNvPicPr>
            <a:picLocks/>
          </p:cNvPicPr>
          <p:nvPr/>
        </p:nvPicPr>
        <p:blipFill>
          <a:blip r:embed="rId3"/>
          <a:stretch>
            <a:fillRect/>
          </a:stretch>
        </p:blipFill>
        <p:spPr>
          <a:xfrm>
            <a:off x="2872135" y="818311"/>
            <a:ext cx="7708392" cy="5698009"/>
          </a:xfrm>
          <a:prstGeom prst="rect">
            <a:avLst/>
          </a:prstGeom>
        </p:spPr>
      </p:pic>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Clustered Index Structure</a:t>
            </a:r>
          </a:p>
        </p:txBody>
      </p:sp>
      <p:sp>
        <p:nvSpPr>
          <p:cNvPr id="7" name="Rectangle 6">
            <a:extLst>
              <a:ext uri="{FF2B5EF4-FFF2-40B4-BE49-F238E27FC236}">
                <a16:creationId xmlns:a16="http://schemas.microsoft.com/office/drawing/2014/main" id="{0D9C03E4-2EF0-4C26-AD8F-E84CBE562A02}"/>
              </a:ext>
            </a:extLst>
          </p:cNvPr>
          <p:cNvSpPr/>
          <p:nvPr/>
        </p:nvSpPr>
        <p:spPr bwMode="auto">
          <a:xfrm>
            <a:off x="2714889" y="4740258"/>
            <a:ext cx="7956459"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657489" y="2940645"/>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Contains Data Pages</a:t>
            </a:r>
          </a:p>
        </p:txBody>
      </p:sp>
    </p:spTree>
    <p:extLst>
      <p:ext uri="{BB962C8B-B14F-4D97-AF65-F5344CB8AC3E}">
        <p14:creationId xmlns:p14="http://schemas.microsoft.com/office/powerpoint/2010/main" val="339303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8" y="2917698"/>
            <a:ext cx="4352925" cy="2643188"/>
          </a:xfrm>
        </p:spPr>
        <p:txBody>
          <a:bodyPr/>
          <a:lstStyle/>
          <a:p>
            <a:r>
              <a:rPr lang="en-US" b="1" dirty="0"/>
              <a:t>Examining index metadata</a:t>
            </a:r>
            <a:br>
              <a:rPr lang="en-US" b="1" dirty="0"/>
            </a:br>
            <a:r>
              <a:rPr lang="en-US" b="1" dirty="0"/>
              <a:t>and Building a B-Tree</a:t>
            </a:r>
          </a:p>
          <a:p>
            <a:pPr marL="342900" indent="-342900">
              <a:buFont typeface="Arial" panose="020B0604020202020204" pitchFamily="34" charset="0"/>
              <a:buChar char="•"/>
            </a:pPr>
            <a:r>
              <a:rPr lang="en-US" sz="2000" dirty="0"/>
              <a:t>This demonstration reviews index, partition, and allocation unit metadata.</a:t>
            </a:r>
          </a:p>
          <a:p>
            <a:pPr marL="342900" indent="-342900">
              <a:buFont typeface="Arial" panose="020B0604020202020204" pitchFamily="34" charset="0"/>
              <a:buChar char="•"/>
            </a:pPr>
            <a:r>
              <a:rPr lang="en-US" sz="2000" dirty="0"/>
              <a:t>Show how a B-Tree begins to form as rows are added to a table.</a:t>
            </a:r>
          </a:p>
          <a:p>
            <a:endParaRPr lang="en-US" dirty="0"/>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Segoe UI Semibold" panose="020B0702040204020203" pitchFamily="34" charset="0"/>
              </a:rPr>
              <a:t>Non-Clustered Indexes</a:t>
            </a:r>
          </a:p>
        </p:txBody>
      </p:sp>
      <p:graphicFrame>
        <p:nvGraphicFramePr>
          <p:cNvPr id="3" name="Diagram 2">
            <a:extLst>
              <a:ext uri="{FF2B5EF4-FFF2-40B4-BE49-F238E27FC236}">
                <a16:creationId xmlns:a16="http://schemas.microsoft.com/office/drawing/2014/main" id="{F9DF2724-B7D1-4FAD-9393-A5E7D8A68177}"/>
              </a:ext>
            </a:extLst>
          </p:cNvPr>
          <p:cNvGraphicFramePr/>
          <p:nvPr>
            <p:extLst>
              <p:ext uri="{D42A27DB-BD31-4B8C-83A1-F6EECF244321}">
                <p14:modId xmlns:p14="http://schemas.microsoft.com/office/powerpoint/2010/main" val="125544289"/>
              </p:ext>
            </p:extLst>
          </p:nvPr>
        </p:nvGraphicFramePr>
        <p:xfrm>
          <a:off x="536159" y="1080054"/>
          <a:ext cx="11655841" cy="51335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04645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30" name="Picture 29">
            <a:extLst>
              <a:ext uri="{FF2B5EF4-FFF2-40B4-BE49-F238E27FC236}">
                <a16:creationId xmlns:a16="http://schemas.microsoft.com/office/drawing/2014/main" id="{B7B21C14-11DD-DD1E-9E78-7552491FCEB3}"/>
              </a:ext>
            </a:extLst>
          </p:cNvPr>
          <p:cNvPicPr>
            <a:picLocks noChangeAspect="1"/>
          </p:cNvPicPr>
          <p:nvPr/>
        </p:nvPicPr>
        <p:blipFill>
          <a:blip r:embed="rId2"/>
          <a:stretch>
            <a:fillRect/>
          </a:stretch>
        </p:blipFill>
        <p:spPr>
          <a:xfrm>
            <a:off x="5013269" y="2879697"/>
            <a:ext cx="2165461" cy="1098606"/>
          </a:xfrm>
          <a:prstGeom prst="rect">
            <a:avLst/>
          </a:prstGeom>
        </p:spPr>
      </p:pic>
      <p:grpSp>
        <p:nvGrpSpPr>
          <p:cNvPr id="28" name="Group 27">
            <a:extLst>
              <a:ext uri="{FF2B5EF4-FFF2-40B4-BE49-F238E27FC236}">
                <a16:creationId xmlns:a16="http://schemas.microsoft.com/office/drawing/2014/main" id="{F90C1750-6A35-0009-6350-C545EBF05868}"/>
              </a:ext>
            </a:extLst>
          </p:cNvPr>
          <p:cNvGrpSpPr/>
          <p:nvPr/>
        </p:nvGrpSpPr>
        <p:grpSpPr>
          <a:xfrm>
            <a:off x="1292014" y="1347087"/>
            <a:ext cx="9427102" cy="5421698"/>
            <a:chOff x="1302062" y="1136071"/>
            <a:chExt cx="9427102" cy="5421698"/>
          </a:xfrm>
        </p:grpSpPr>
        <p:grpSp>
          <p:nvGrpSpPr>
            <p:cNvPr id="21" name="Group 20">
              <a:extLst>
                <a:ext uri="{FF2B5EF4-FFF2-40B4-BE49-F238E27FC236}">
                  <a16:creationId xmlns:a16="http://schemas.microsoft.com/office/drawing/2014/main" id="{E4AED723-01EB-628D-C41E-8739B5191349}"/>
                </a:ext>
              </a:extLst>
            </p:cNvPr>
            <p:cNvGrpSpPr/>
            <p:nvPr/>
          </p:nvGrpSpPr>
          <p:grpSpPr>
            <a:xfrm>
              <a:off x="1302062" y="1136071"/>
              <a:ext cx="2775094" cy="2449770"/>
              <a:chOff x="1302062" y="1136071"/>
              <a:chExt cx="2775094" cy="2449770"/>
            </a:xfrm>
          </p:grpSpPr>
          <p:pic>
            <p:nvPicPr>
              <p:cNvPr id="16" name="Picture 15">
                <a:extLst>
                  <a:ext uri="{FF2B5EF4-FFF2-40B4-BE49-F238E27FC236}">
                    <a16:creationId xmlns:a16="http://schemas.microsoft.com/office/drawing/2014/main" id="{45B70C37-86A3-CF79-CBCE-ACDF4163D490}"/>
                  </a:ext>
                </a:extLst>
              </p:cNvPr>
              <p:cNvPicPr>
                <a:picLocks noChangeAspect="1"/>
              </p:cNvPicPr>
              <p:nvPr/>
            </p:nvPicPr>
            <p:blipFill>
              <a:blip r:embed="rId3"/>
              <a:stretch>
                <a:fillRect/>
              </a:stretch>
            </p:blipFill>
            <p:spPr>
              <a:xfrm>
                <a:off x="1302062" y="1136071"/>
                <a:ext cx="2775093" cy="1632034"/>
              </a:xfrm>
              <a:prstGeom prst="rect">
                <a:avLst/>
              </a:prstGeom>
            </p:spPr>
          </p:pic>
          <p:sp>
            <p:nvSpPr>
              <p:cNvPr id="18" name="TextBox 17">
                <a:extLst>
                  <a:ext uri="{FF2B5EF4-FFF2-40B4-BE49-F238E27FC236}">
                    <a16:creationId xmlns:a16="http://schemas.microsoft.com/office/drawing/2014/main" id="{A1377B55-119B-884B-1885-3505384324A2}"/>
                  </a:ext>
                </a:extLst>
              </p:cNvPr>
              <p:cNvSpPr txBox="1"/>
              <p:nvPr/>
            </p:nvSpPr>
            <p:spPr>
              <a:xfrm>
                <a:off x="1302062" y="2659434"/>
                <a:ext cx="2775094"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n-Clustered Index</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eaf Level</a:t>
                </a:r>
              </a:p>
            </p:txBody>
          </p:sp>
        </p:grpSp>
        <p:sp>
          <p:nvSpPr>
            <p:cNvPr id="19" name="TextBox 18">
              <a:extLst>
                <a:ext uri="{FF2B5EF4-FFF2-40B4-BE49-F238E27FC236}">
                  <a16:creationId xmlns:a16="http://schemas.microsoft.com/office/drawing/2014/main" id="{F6CA0B96-C274-FC18-AF21-EE10972C2E74}"/>
                </a:ext>
              </a:extLst>
            </p:cNvPr>
            <p:cNvSpPr txBox="1"/>
            <p:nvPr/>
          </p:nvSpPr>
          <p:spPr>
            <a:xfrm>
              <a:off x="4983574" y="3700439"/>
              <a:ext cx="2244946"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ustered Index</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on-Leaf Level</a:t>
              </a:r>
            </a:p>
          </p:txBody>
        </p:sp>
        <p:grpSp>
          <p:nvGrpSpPr>
            <p:cNvPr id="22" name="Group 21">
              <a:extLst>
                <a:ext uri="{FF2B5EF4-FFF2-40B4-BE49-F238E27FC236}">
                  <a16:creationId xmlns:a16="http://schemas.microsoft.com/office/drawing/2014/main" id="{57B33411-F55F-4166-3BA4-FCE1010EBD05}"/>
                </a:ext>
              </a:extLst>
            </p:cNvPr>
            <p:cNvGrpSpPr/>
            <p:nvPr/>
          </p:nvGrpSpPr>
          <p:grpSpPr>
            <a:xfrm>
              <a:off x="8172719" y="2945666"/>
              <a:ext cx="2556445" cy="3612103"/>
              <a:chOff x="8333492" y="3429000"/>
              <a:chExt cx="2556445" cy="3612103"/>
            </a:xfrm>
          </p:grpSpPr>
          <p:pic>
            <p:nvPicPr>
              <p:cNvPr id="14" name="Picture 13">
                <a:extLst>
                  <a:ext uri="{FF2B5EF4-FFF2-40B4-BE49-F238E27FC236}">
                    <a16:creationId xmlns:a16="http://schemas.microsoft.com/office/drawing/2014/main" id="{1EB408A6-20A3-A3C2-3E6E-FA77E0C6A7D4}"/>
                  </a:ext>
                </a:extLst>
              </p:cNvPr>
              <p:cNvPicPr>
                <a:picLocks noChangeAspect="1"/>
              </p:cNvPicPr>
              <p:nvPr/>
            </p:nvPicPr>
            <p:blipFill>
              <a:blip r:embed="rId4"/>
              <a:stretch>
                <a:fillRect/>
              </a:stretch>
            </p:blipFill>
            <p:spPr>
              <a:xfrm>
                <a:off x="8703058" y="3429000"/>
                <a:ext cx="1817314" cy="2766810"/>
              </a:xfrm>
              <a:prstGeom prst="rect">
                <a:avLst/>
              </a:prstGeom>
            </p:spPr>
          </p:pic>
          <p:sp>
            <p:nvSpPr>
              <p:cNvPr id="20" name="TextBox 19">
                <a:extLst>
                  <a:ext uri="{FF2B5EF4-FFF2-40B4-BE49-F238E27FC236}">
                    <a16:creationId xmlns:a16="http://schemas.microsoft.com/office/drawing/2014/main" id="{904E908E-522E-62F0-D772-5EB5DF3DD683}"/>
                  </a:ext>
                </a:extLst>
              </p:cNvPr>
              <p:cNvSpPr txBox="1"/>
              <p:nvPr/>
            </p:nvSpPr>
            <p:spPr>
              <a:xfrm>
                <a:off x="8333492" y="6114696"/>
                <a:ext cx="2556445" cy="92640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ata Page 11855</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eaf Level</a:t>
                </a:r>
              </a:p>
            </p:txBody>
          </p:sp>
        </p:grpSp>
        <p:sp>
          <p:nvSpPr>
            <p:cNvPr id="24" name="Rectangle 23">
              <a:extLst>
                <a:ext uri="{FF2B5EF4-FFF2-40B4-BE49-F238E27FC236}">
                  <a16:creationId xmlns:a16="http://schemas.microsoft.com/office/drawing/2014/main" id="{E448120B-7A22-64FF-0E2E-C20D914FBAD7}"/>
                </a:ext>
              </a:extLst>
            </p:cNvPr>
            <p:cNvSpPr/>
            <p:nvPr/>
          </p:nvSpPr>
          <p:spPr bwMode="auto">
            <a:xfrm>
              <a:off x="1302062" y="1326382"/>
              <a:ext cx="2775093" cy="241161"/>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286C4484-66A3-A812-6514-6E9A1B8CF1EB}"/>
                </a:ext>
              </a:extLst>
            </p:cNvPr>
            <p:cNvSpPr/>
            <p:nvPr/>
          </p:nvSpPr>
          <p:spPr bwMode="auto">
            <a:xfrm>
              <a:off x="5068244" y="3128317"/>
              <a:ext cx="2086193" cy="200203"/>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Bent 25">
              <a:extLst>
                <a:ext uri="{FF2B5EF4-FFF2-40B4-BE49-F238E27FC236}">
                  <a16:creationId xmlns:a16="http://schemas.microsoft.com/office/drawing/2014/main" id="{5E186B57-36DC-7B64-444A-3725760CDDB2}"/>
                </a:ext>
              </a:extLst>
            </p:cNvPr>
            <p:cNvSpPr/>
            <p:nvPr/>
          </p:nvSpPr>
          <p:spPr bwMode="auto">
            <a:xfrm rot="5400000">
              <a:off x="4590235" y="949812"/>
              <a:ext cx="1333053" cy="2086193"/>
            </a:xfrm>
            <a:prstGeom prst="ben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Arrow: Right 26">
              <a:extLst>
                <a:ext uri="{FF2B5EF4-FFF2-40B4-BE49-F238E27FC236}">
                  <a16:creationId xmlns:a16="http://schemas.microsoft.com/office/drawing/2014/main" id="{C20CC892-4D23-899A-B134-DABAC88B5646}"/>
                </a:ext>
              </a:extLst>
            </p:cNvPr>
            <p:cNvSpPr/>
            <p:nvPr/>
          </p:nvSpPr>
          <p:spPr bwMode="auto">
            <a:xfrm>
              <a:off x="7247411" y="3135086"/>
              <a:ext cx="1294873" cy="572464"/>
            </a:xfrm>
            <a:prstGeom prst="righ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3634274E-9B67-AA59-AB78-45119A3C0F4F}"/>
              </a:ext>
            </a:extLst>
          </p:cNvPr>
          <p:cNvSpPr txBox="1"/>
          <p:nvPr/>
        </p:nvSpPr>
        <p:spPr>
          <a:xfrm>
            <a:off x="728230" y="4990999"/>
            <a:ext cx="534194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SELECT * will need to find all column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3</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252757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73094-8FC6-9568-E982-F7B09ED4192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D2529FB-2FF8-7BA2-EDC0-A2E8BBBB6BA7}"/>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B4462B21-232E-F904-8A2F-DFD0B519FAB9}"/>
              </a:ext>
            </a:extLst>
          </p:cNvPr>
          <p:cNvSpPr>
            <a:spLocks noGrp="1"/>
          </p:cNvSpPr>
          <p:nvPr>
            <p:ph type="body" sz="quarter" idx="10"/>
          </p:nvPr>
        </p:nvSpPr>
        <p:spPr>
          <a:xfrm>
            <a:off x="655638" y="3124199"/>
            <a:ext cx="4352925" cy="2643188"/>
          </a:xfrm>
        </p:spPr>
        <p:txBody>
          <a:bodyPr/>
          <a:lstStyle/>
          <a:p>
            <a:pPr algn="ctr"/>
            <a:r>
              <a:rPr lang="en-US" b="1" dirty="0"/>
              <a:t>Non-Clustered Indexes</a:t>
            </a:r>
          </a:p>
          <a:p>
            <a:pPr algn="ctr"/>
            <a:r>
              <a:rPr lang="en-US" dirty="0"/>
              <a:t>Looks inside a non-clustered index.</a:t>
            </a:r>
          </a:p>
          <a:p>
            <a:endParaRPr lang="en-US" dirty="0"/>
          </a:p>
        </p:txBody>
      </p:sp>
      <p:sp>
        <p:nvSpPr>
          <p:cNvPr id="7" name="Picture Placeholder 6">
            <a:extLst>
              <a:ext uri="{FF2B5EF4-FFF2-40B4-BE49-F238E27FC236}">
                <a16:creationId xmlns:a16="http://schemas.microsoft.com/office/drawing/2014/main" id="{93EE63DC-D67E-2F3C-131A-17603EB7EAEE}"/>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D28324B5-2859-D693-004B-398D9FA7203C}"/>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7844902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Clustered vs Non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p:spPr>
        <p:txBody>
          <a:bodyPr>
            <a:normAutofit/>
          </a:bodyPr>
          <a:lstStyle/>
          <a:p>
            <a:r>
              <a:rPr lang="en-US"/>
              <a:t>An index is an on-disk structure associated with a table or view that speeds retrieval of rows.</a:t>
            </a:r>
          </a:p>
        </p:txBody>
      </p:sp>
      <p:graphicFrame>
        <p:nvGraphicFramePr>
          <p:cNvPr id="7" name="Content Placeholder 3">
            <a:extLst>
              <a:ext uri="{FF2B5EF4-FFF2-40B4-BE49-F238E27FC236}">
                <a16:creationId xmlns:a16="http://schemas.microsoft.com/office/drawing/2014/main" id="{CF7C7A3B-A65D-40B2-92A1-6E44F518C1B2}"/>
              </a:ext>
            </a:extLst>
          </p:cNvPr>
          <p:cNvGraphicFramePr>
            <a:graphicFrameLocks noGrp="1"/>
          </p:cNvGraphicFramePr>
          <p:nvPr>
            <p:ph sz="quarter" idx="13"/>
            <p:extLst>
              <p:ext uri="{D42A27DB-BD31-4B8C-83A1-F6EECF244321}">
                <p14:modId xmlns:p14="http://schemas.microsoft.com/office/powerpoint/2010/main" val="413849274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2293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mparing Clustered and Non-clustered indexes</a:t>
            </a:r>
          </a:p>
        </p:txBody>
      </p:sp>
      <p:sp>
        <p:nvSpPr>
          <p:cNvPr id="41" name="Content Placeholder 3">
            <a:extLst>
              <a:ext uri="{FF2B5EF4-FFF2-40B4-BE49-F238E27FC236}">
                <a16:creationId xmlns:a16="http://schemas.microsoft.com/office/drawing/2014/main" id="{EDBFB42B-281A-4C9C-A1C0-5B06234DC7E7}"/>
              </a:ext>
            </a:extLst>
          </p:cNvPr>
          <p:cNvSpPr>
            <a:spLocks noGrp="1"/>
          </p:cNvSpPr>
          <p:nvPr>
            <p:ph sz="quarter" idx="13"/>
          </p:nvPr>
        </p:nvSpPr>
        <p:spPr>
          <a:xfrm>
            <a:off x="655638" y="1408114"/>
            <a:ext cx="10880726" cy="4819650"/>
          </a:xfrm>
        </p:spPr>
        <p:txBody>
          <a:bodyPr>
            <a:normAutofit/>
          </a:bodyPr>
          <a:lstStyle/>
          <a:p>
            <a:r>
              <a:rPr lang="en-US"/>
              <a:t>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pic>
        <p:nvPicPr>
          <p:cNvPr id="42" name="Picture 41">
            <a:extLst>
              <a:ext uri="{FF2B5EF4-FFF2-40B4-BE49-F238E27FC236}">
                <a16:creationId xmlns:a16="http://schemas.microsoft.com/office/drawing/2014/main" id="{EF37A2E3-0AA0-4F0A-A063-663C35FFDF6C}"/>
              </a:ext>
            </a:extLst>
          </p:cNvPr>
          <p:cNvPicPr>
            <a:picLocks noChangeAspect="1"/>
          </p:cNvPicPr>
          <p:nvPr/>
        </p:nvPicPr>
        <p:blipFill>
          <a:blip r:embed="rId3"/>
          <a:stretch>
            <a:fillRect/>
          </a:stretch>
        </p:blipFill>
        <p:spPr>
          <a:xfrm>
            <a:off x="635991" y="1408114"/>
            <a:ext cx="4200764" cy="4507355"/>
          </a:xfrm>
          <a:prstGeom prst="rect">
            <a:avLst/>
          </a:prstGeom>
        </p:spPr>
      </p:pic>
      <p:sp>
        <p:nvSpPr>
          <p:cNvPr id="43" name="TextBox 42">
            <a:extLst>
              <a:ext uri="{FF2B5EF4-FFF2-40B4-BE49-F238E27FC236}">
                <a16:creationId xmlns:a16="http://schemas.microsoft.com/office/drawing/2014/main" id="{73994957-6987-43FC-9C46-C4E90CDEA2CD}"/>
              </a:ext>
            </a:extLst>
          </p:cNvPr>
          <p:cNvSpPr txBox="1"/>
          <p:nvPr/>
        </p:nvSpPr>
        <p:spPr>
          <a:xfrm>
            <a:off x="1676400" y="5917728"/>
            <a:ext cx="2057400" cy="307777"/>
          </a:xfrm>
          <a:prstGeom prst="rect">
            <a:avLst/>
          </a:prstGeom>
          <a:solidFill>
            <a:schemeClr val="bg2">
              <a:lumMod val="90000"/>
            </a:schemeClr>
          </a:solidFill>
        </p:spPr>
        <p:txBody>
          <a:bodyPr wrap="square" lIns="0" tIns="0" rIns="0" bIns="0" rtlCol="0">
            <a:spAutoFit/>
          </a:bodyPr>
          <a:lstStyle/>
          <a:p>
            <a:pPr algn="l"/>
            <a:r>
              <a:rPr lang="en-US" sz="2000" b="1">
                <a:gradFill>
                  <a:gsLst>
                    <a:gs pos="2917">
                      <a:schemeClr val="tx1"/>
                    </a:gs>
                    <a:gs pos="30000">
                      <a:schemeClr val="tx1"/>
                    </a:gs>
                  </a:gsLst>
                  <a:lin ang="5400000" scaled="0"/>
                </a:gradFill>
              </a:rPr>
              <a:t> Clustered Index</a:t>
            </a:r>
          </a:p>
        </p:txBody>
      </p:sp>
      <p:sp>
        <p:nvSpPr>
          <p:cNvPr id="46" name="Rectangle 45">
            <a:extLst>
              <a:ext uri="{FF2B5EF4-FFF2-40B4-BE49-F238E27FC236}">
                <a16:creationId xmlns:a16="http://schemas.microsoft.com/office/drawing/2014/main" id="{DFA61869-09C3-470C-99E6-CB3F8F0A5A01}"/>
              </a:ext>
            </a:extLst>
          </p:cNvPr>
          <p:cNvSpPr/>
          <p:nvPr/>
        </p:nvSpPr>
        <p:spPr bwMode="auto">
          <a:xfrm>
            <a:off x="695172" y="4519212"/>
            <a:ext cx="4200764" cy="1430933"/>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7" name="Speech Bubble: Rectangle with Corners Rounded 46">
            <a:extLst>
              <a:ext uri="{FF2B5EF4-FFF2-40B4-BE49-F238E27FC236}">
                <a16:creationId xmlns:a16="http://schemas.microsoft.com/office/drawing/2014/main" id="{485195DF-CB85-4218-84E4-41A2AEFDA090}"/>
              </a:ext>
            </a:extLst>
          </p:cNvPr>
          <p:cNvSpPr/>
          <p:nvPr/>
        </p:nvSpPr>
        <p:spPr bwMode="auto">
          <a:xfrm>
            <a:off x="4897996" y="5462799"/>
            <a:ext cx="2057400" cy="1229490"/>
          </a:xfrm>
          <a:prstGeom prst="wedgeRoundRectCallout">
            <a:avLst>
              <a:gd name="adj1" fmla="val -51906"/>
              <a:gd name="adj2" fmla="val -84799"/>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Leaf Node Contains Data Pages</a:t>
            </a:r>
          </a:p>
        </p:txBody>
      </p:sp>
      <p:sp>
        <p:nvSpPr>
          <p:cNvPr id="49" name="Speech Bubble: Rectangle with Corners Rounded 48">
            <a:extLst>
              <a:ext uri="{FF2B5EF4-FFF2-40B4-BE49-F238E27FC236}">
                <a16:creationId xmlns:a16="http://schemas.microsoft.com/office/drawing/2014/main" id="{8FADA8DC-1D2D-46B2-9B67-9CAB8D455DD8}"/>
              </a:ext>
            </a:extLst>
          </p:cNvPr>
          <p:cNvSpPr/>
          <p:nvPr/>
        </p:nvSpPr>
        <p:spPr bwMode="auto">
          <a:xfrm>
            <a:off x="4038598" y="1764353"/>
            <a:ext cx="2590800" cy="1229490"/>
          </a:xfrm>
          <a:prstGeom prst="wedgeRoundRectCallout">
            <a:avLst>
              <a:gd name="adj1" fmla="val 46629"/>
              <a:gd name="adj2" fmla="val 9550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Leaf Node has Pointer to Base Table</a:t>
            </a:r>
          </a:p>
          <a:p>
            <a:pPr algn="l" defTabSz="932472" fontAlgn="base">
              <a:spcBef>
                <a:spcPct val="0"/>
              </a:spcBef>
              <a:spcAft>
                <a:spcPct val="0"/>
              </a:spcAft>
            </a:pPr>
            <a:endParaRPr lang="en-US" sz="2000" b="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5B5CD702-3CC8-5B94-F03E-EF78AA74241F}"/>
              </a:ext>
            </a:extLst>
          </p:cNvPr>
          <p:cNvGrpSpPr/>
          <p:nvPr/>
        </p:nvGrpSpPr>
        <p:grpSpPr>
          <a:xfrm>
            <a:off x="6609753" y="1338763"/>
            <a:ext cx="4926609" cy="4848473"/>
            <a:chOff x="6609753" y="1338763"/>
            <a:chExt cx="4926609" cy="4848473"/>
          </a:xfrm>
        </p:grpSpPr>
        <p:sp>
          <p:nvSpPr>
            <p:cNvPr id="44" name="TextBox 43">
              <a:extLst>
                <a:ext uri="{FF2B5EF4-FFF2-40B4-BE49-F238E27FC236}">
                  <a16:creationId xmlns:a16="http://schemas.microsoft.com/office/drawing/2014/main" id="{8357AC3D-DE28-4224-8CE1-D4699B92756C}"/>
                </a:ext>
              </a:extLst>
            </p:cNvPr>
            <p:cNvSpPr txBox="1"/>
            <p:nvPr/>
          </p:nvSpPr>
          <p:spPr>
            <a:xfrm>
              <a:off x="7315200" y="5879459"/>
              <a:ext cx="2514600" cy="307777"/>
            </a:xfrm>
            <a:prstGeom prst="rect">
              <a:avLst/>
            </a:prstGeom>
            <a:solidFill>
              <a:schemeClr val="bg2">
                <a:lumMod val="90000"/>
              </a:schemeClr>
            </a:solidFill>
          </p:spPr>
          <p:txBody>
            <a:bodyPr wrap="square" lIns="0" tIns="0" rIns="0" bIns="0" rtlCol="0">
              <a:spAutoFit/>
            </a:bodyPr>
            <a:lstStyle/>
            <a:p>
              <a:pPr algn="l"/>
              <a:r>
                <a:rPr lang="en-US" sz="2000" b="1">
                  <a:gradFill>
                    <a:gsLst>
                      <a:gs pos="2917">
                        <a:schemeClr val="tx1"/>
                      </a:gs>
                      <a:gs pos="30000">
                        <a:schemeClr val="tx1"/>
                      </a:gs>
                    </a:gsLst>
                    <a:lin ang="5400000" scaled="0"/>
                  </a:gradFill>
                </a:rPr>
                <a:t> Nonclustered Index</a:t>
              </a:r>
            </a:p>
          </p:txBody>
        </p:sp>
        <p:pic>
          <p:nvPicPr>
            <p:cNvPr id="45" name="Picture 44">
              <a:extLst>
                <a:ext uri="{FF2B5EF4-FFF2-40B4-BE49-F238E27FC236}">
                  <a16:creationId xmlns:a16="http://schemas.microsoft.com/office/drawing/2014/main" id="{BE1357B5-BB70-4AA1-94AB-926E15A9E5CF}"/>
                </a:ext>
              </a:extLst>
            </p:cNvPr>
            <p:cNvPicPr>
              <a:picLocks noChangeAspect="1"/>
            </p:cNvPicPr>
            <p:nvPr/>
          </p:nvPicPr>
          <p:blipFill>
            <a:blip r:embed="rId4"/>
            <a:stretch>
              <a:fillRect/>
            </a:stretch>
          </p:blipFill>
          <p:spPr>
            <a:xfrm>
              <a:off x="6629400" y="1363955"/>
              <a:ext cx="4906962" cy="4562778"/>
            </a:xfrm>
            <a:prstGeom prst="rect">
              <a:avLst/>
            </a:prstGeom>
          </p:spPr>
        </p:pic>
        <p:sp>
          <p:nvSpPr>
            <p:cNvPr id="48" name="Rectangle 47">
              <a:extLst>
                <a:ext uri="{FF2B5EF4-FFF2-40B4-BE49-F238E27FC236}">
                  <a16:creationId xmlns:a16="http://schemas.microsoft.com/office/drawing/2014/main" id="{CAEE8E0D-7606-422F-BA74-E28E8657E15A}"/>
                </a:ext>
              </a:extLst>
            </p:cNvPr>
            <p:cNvSpPr/>
            <p:nvPr/>
          </p:nvSpPr>
          <p:spPr bwMode="auto">
            <a:xfrm>
              <a:off x="6609753" y="3109750"/>
              <a:ext cx="4200764" cy="1430933"/>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76192925-DBBC-E49C-1BD4-9682A8E496C1}"/>
                </a:ext>
              </a:extLst>
            </p:cNvPr>
            <p:cNvPicPr>
              <a:picLocks noChangeAspect="1"/>
            </p:cNvPicPr>
            <p:nvPr/>
          </p:nvPicPr>
          <p:blipFill>
            <a:blip r:embed="rId5"/>
            <a:stretch>
              <a:fillRect/>
            </a:stretch>
          </p:blipFill>
          <p:spPr>
            <a:xfrm>
              <a:off x="6955396" y="1338763"/>
              <a:ext cx="2514601" cy="372486"/>
            </a:xfrm>
            <a:prstGeom prst="rect">
              <a:avLst/>
            </a:prstGeom>
          </p:spPr>
        </p:pic>
      </p:grpSp>
    </p:spTree>
    <p:extLst>
      <p:ext uri="{BB962C8B-B14F-4D97-AF65-F5344CB8AC3E}">
        <p14:creationId xmlns:p14="http://schemas.microsoft.com/office/powerpoint/2010/main" val="3928707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9"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Fragmentation</a:t>
            </a:r>
          </a:p>
        </p:txBody>
      </p:sp>
      <p:sp>
        <p:nvSpPr>
          <p:cNvPr id="5" name="Subtitle 4">
            <a:extLst>
              <a:ext uri="{FF2B5EF4-FFF2-40B4-BE49-F238E27FC236}">
                <a16:creationId xmlns:a16="http://schemas.microsoft.com/office/drawing/2014/main" id="{348671D4-9303-4AFE-9143-83F44EEE4B3E}"/>
              </a:ext>
            </a:extLst>
          </p:cNvPr>
          <p:cNvSpPr>
            <a:spLocks noGrp="1"/>
          </p:cNvSpPr>
          <p:nvPr>
            <p:ph type="subTitle" idx="1"/>
          </p:nvPr>
        </p:nvSpPr>
        <p:spPr>
          <a:xfrm>
            <a:off x="655637" y="786383"/>
            <a:ext cx="10880725" cy="461665"/>
          </a:xfrm>
        </p:spPr>
        <p:txBody>
          <a:bodyPr>
            <a:normAutofit/>
          </a:bodyPr>
          <a:lstStyle/>
          <a:p>
            <a:r>
              <a:rPr lang="en-US" sz="1900"/>
              <a:t>A fragmented table/Index is when some of its data pages point to pages that are not in sequence.</a:t>
            </a:r>
          </a:p>
        </p:txBody>
      </p:sp>
      <p:graphicFrame>
        <p:nvGraphicFramePr>
          <p:cNvPr id="6" name="Content Placeholder 3">
            <a:extLst>
              <a:ext uri="{FF2B5EF4-FFF2-40B4-BE49-F238E27FC236}">
                <a16:creationId xmlns:a16="http://schemas.microsoft.com/office/drawing/2014/main" id="{5612EB1D-0D08-4DC1-A9CE-1B591A4F97E6}"/>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830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Page Splits</a:t>
            </a:r>
          </a:p>
        </p:txBody>
      </p:sp>
      <p:pic>
        <p:nvPicPr>
          <p:cNvPr id="7" name="Picture 2">
            <a:extLst>
              <a:ext uri="{FF2B5EF4-FFF2-40B4-BE49-F238E27FC236}">
                <a16:creationId xmlns:a16="http://schemas.microsoft.com/office/drawing/2014/main" id="{C89038E8-4C91-4844-9D94-B2693C6E7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5474" y="1344706"/>
            <a:ext cx="8091431" cy="4851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5155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328669148"/>
              </p:ext>
            </p:extLst>
          </p:nvPr>
        </p:nvGraphicFramePr>
        <p:xfrm>
          <a:off x="655638" y="1408113"/>
          <a:ext cx="10880725" cy="2883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Lesson 2: Index Strategy</a:t>
            </a:r>
          </a:p>
        </p:txBody>
      </p:sp>
    </p:spTree>
    <p:extLst>
      <p:ext uri="{BB962C8B-B14F-4D97-AF65-F5344CB8AC3E}">
        <p14:creationId xmlns:p14="http://schemas.microsoft.com/office/powerpoint/2010/main" val="289400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est practices associated with clustered index design.</a:t>
            </a:r>
          </a:p>
          <a:p>
            <a:r>
              <a:rPr lang="en-US" dirty="0"/>
              <a:t>Consider factors involved in designing a nonclustered indexing strategy.</a:t>
            </a:r>
          </a:p>
          <a:p>
            <a:r>
              <a:rPr lang="en-US" dirty="0"/>
              <a:t>Explain how an indexing strategy can reduce logical reads.</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530D-2006-4450-8F92-3E1216E9B206}"/>
              </a:ext>
            </a:extLst>
          </p:cNvPr>
          <p:cNvSpPr>
            <a:spLocks noGrp="1"/>
          </p:cNvSpPr>
          <p:nvPr>
            <p:ph type="title"/>
          </p:nvPr>
        </p:nvSpPr>
        <p:spPr/>
        <p:txBody>
          <a:bodyPr/>
          <a:lstStyle/>
          <a:p>
            <a:r>
              <a:rPr lang="en-US" dirty="0"/>
              <a:t>Characteristics of a Good Clustering Key</a:t>
            </a:r>
          </a:p>
        </p:txBody>
      </p:sp>
      <p:graphicFrame>
        <p:nvGraphicFramePr>
          <p:cNvPr id="7" name="Diagram 6">
            <a:extLst>
              <a:ext uri="{FF2B5EF4-FFF2-40B4-BE49-F238E27FC236}">
                <a16:creationId xmlns:a16="http://schemas.microsoft.com/office/drawing/2014/main" id="{E6AB22AD-0705-4A95-903A-B4CDB0CA03E0}"/>
              </a:ext>
            </a:extLst>
          </p:cNvPr>
          <p:cNvGraphicFramePr/>
          <p:nvPr>
            <p:extLst>
              <p:ext uri="{D42A27DB-BD31-4B8C-83A1-F6EECF244321}">
                <p14:modId xmlns:p14="http://schemas.microsoft.com/office/powerpoint/2010/main" val="2761835907"/>
              </p:ext>
            </p:extLst>
          </p:nvPr>
        </p:nvGraphicFramePr>
        <p:xfrm>
          <a:off x="655638" y="1365935"/>
          <a:ext cx="11010498" cy="47535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59770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Best Practices for 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The primary goal of any indexing strategy is to make queries faster</a:t>
            </a:r>
          </a:p>
          <a:p>
            <a:endParaRPr lang="en-US"/>
          </a:p>
        </p:txBody>
      </p:sp>
      <p:graphicFrame>
        <p:nvGraphicFramePr>
          <p:cNvPr id="7" name="Content Placeholder 6">
            <a:extLst>
              <a:ext uri="{FF2B5EF4-FFF2-40B4-BE49-F238E27FC236}">
                <a16:creationId xmlns:a16="http://schemas.microsoft.com/office/drawing/2014/main" id="{FBCEAB35-8B70-4C96-9DA5-8813406D2B2C}"/>
              </a:ext>
            </a:extLst>
          </p:cNvPr>
          <p:cNvGraphicFramePr>
            <a:graphicFrameLocks noGrp="1"/>
          </p:cNvGraphicFramePr>
          <p:nvPr>
            <p:ph sz="quarter" idx="13"/>
            <p:extLst>
              <p:ext uri="{D42A27DB-BD31-4B8C-83A1-F6EECF244321}">
                <p14:modId xmlns:p14="http://schemas.microsoft.com/office/powerpoint/2010/main" val="1353538675"/>
              </p:ext>
            </p:extLst>
          </p:nvPr>
        </p:nvGraphicFramePr>
        <p:xfrm>
          <a:off x="522023" y="1433565"/>
          <a:ext cx="10880726" cy="4927041"/>
        </p:xfrm>
        <a:graphic>
          <a:graphicData uri="http://schemas.openxmlformats.org/drawingml/2006/table">
            <a:tbl>
              <a:tblPr/>
              <a:tblGrid>
                <a:gridCol w="3587753">
                  <a:extLst>
                    <a:ext uri="{9D8B030D-6E8A-4147-A177-3AD203B41FA5}">
                      <a16:colId xmlns:a16="http://schemas.microsoft.com/office/drawing/2014/main" val="1236326162"/>
                    </a:ext>
                  </a:extLst>
                </a:gridCol>
                <a:gridCol w="1382923">
                  <a:extLst>
                    <a:ext uri="{9D8B030D-6E8A-4147-A177-3AD203B41FA5}">
                      <a16:colId xmlns:a16="http://schemas.microsoft.com/office/drawing/2014/main" val="1030117984"/>
                    </a:ext>
                  </a:extLst>
                </a:gridCol>
                <a:gridCol w="1249745">
                  <a:extLst>
                    <a:ext uri="{9D8B030D-6E8A-4147-A177-3AD203B41FA5}">
                      <a16:colId xmlns:a16="http://schemas.microsoft.com/office/drawing/2014/main" val="3107741756"/>
                    </a:ext>
                  </a:extLst>
                </a:gridCol>
                <a:gridCol w="1477108">
                  <a:extLst>
                    <a:ext uri="{9D8B030D-6E8A-4147-A177-3AD203B41FA5}">
                      <a16:colId xmlns:a16="http://schemas.microsoft.com/office/drawing/2014/main" val="3382048757"/>
                    </a:ext>
                  </a:extLst>
                </a:gridCol>
                <a:gridCol w="1607736">
                  <a:extLst>
                    <a:ext uri="{9D8B030D-6E8A-4147-A177-3AD203B41FA5}">
                      <a16:colId xmlns:a16="http://schemas.microsoft.com/office/drawing/2014/main" val="1577839061"/>
                    </a:ext>
                  </a:extLst>
                </a:gridCol>
                <a:gridCol w="1575461">
                  <a:extLst>
                    <a:ext uri="{9D8B030D-6E8A-4147-A177-3AD203B41FA5}">
                      <a16:colId xmlns:a16="http://schemas.microsoft.com/office/drawing/2014/main" val="2405618192"/>
                    </a:ext>
                  </a:extLst>
                </a:gridCol>
              </a:tblGrid>
              <a:tr h="1222941">
                <a:tc>
                  <a:txBody>
                    <a:bodyPr/>
                    <a:lstStyle/>
                    <a:p>
                      <a:pPr algn="ctr" fontAlgn="b"/>
                      <a:r>
                        <a:rPr lang="en-US" sz="2000" b="1" i="0" u="none" strike="noStrike" baseline="0" dirty="0">
                          <a:solidFill>
                            <a:srgbClr val="FFFFFF"/>
                          </a:solidFill>
                          <a:effectLst/>
                          <a:latin typeface="Segoe UI" panose="020B0502040204020203" pitchFamily="34" charset="0"/>
                        </a:rPr>
                        <a:t>Best Practice</a:t>
                      </a:r>
                    </a:p>
                  </a:txBody>
                  <a:tcPr marL="4763" marR="4763" marT="4763"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Seeks, not scan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key lookup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index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data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page splits</a:t>
                      </a:r>
                    </a:p>
                  </a:txBody>
                  <a:tcPr marL="4763" marR="4763" marT="4763"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F497D"/>
                    </a:solidFill>
                  </a:tcPr>
                </a:tc>
                <a:extLst>
                  <a:ext uri="{0D108BD9-81ED-4DB2-BD59-A6C34878D82A}">
                    <a16:rowId xmlns:a16="http://schemas.microsoft.com/office/drawing/2014/main" val="1296013491"/>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frequently searched value</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2204514242"/>
                  </a:ext>
                </a:extLst>
              </a:tr>
              <a:tr h="740820">
                <a:tc>
                  <a:txBody>
                    <a:bodyPr/>
                    <a:lstStyle/>
                    <a:p>
                      <a:pPr algn="l" fontAlgn="b"/>
                      <a:r>
                        <a:rPr lang="en-US" sz="1800" b="0" i="0" u="none" strike="noStrike">
                          <a:solidFill>
                            <a:srgbClr val="000000"/>
                          </a:solidFill>
                          <a:effectLst/>
                          <a:latin typeface="Segoe UI" panose="020B0502040204020203" pitchFamily="34" charset="0"/>
                        </a:rPr>
                        <a:t> Use narrow key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2044695732"/>
                  </a:ext>
                </a:extLst>
              </a:tr>
              <a:tr h="740820">
                <a:tc>
                  <a:txBody>
                    <a:bodyPr/>
                    <a:lstStyle/>
                    <a:p>
                      <a:pPr algn="l" fontAlgn="b"/>
                      <a:r>
                        <a:rPr lang="en-US" sz="1800" b="0" i="0" u="none" strike="noStrike">
                          <a:solidFill>
                            <a:srgbClr val="000000"/>
                          </a:solidFill>
                          <a:effectLst/>
                          <a:latin typeface="Segoe UI" panose="020B0502040204020203" pitchFamily="34" charset="0"/>
                        </a:rPr>
                        <a:t> Use unique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507477959"/>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static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3216396517"/>
                  </a:ext>
                </a:extLst>
              </a:tr>
              <a:tr h="740820">
                <a:tc>
                  <a:txBody>
                    <a:bodyPr/>
                    <a:lstStyle/>
                    <a:p>
                      <a:pPr algn="l" fontAlgn="b"/>
                      <a:r>
                        <a:rPr lang="en-US" sz="1800" b="0" i="0" u="none" strike="noStrike">
                          <a:solidFill>
                            <a:srgbClr val="000000"/>
                          </a:solidFill>
                          <a:effectLst/>
                          <a:latin typeface="Segoe UI" panose="020B0502040204020203" pitchFamily="34" charset="0"/>
                        </a:rPr>
                        <a:t> Use ascending or descending key</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660405691"/>
                  </a:ext>
                </a:extLst>
              </a:tr>
            </a:tbl>
          </a:graphicData>
        </a:graphic>
      </p:graphicFrame>
    </p:spTree>
    <p:extLst>
      <p:ext uri="{BB962C8B-B14F-4D97-AF65-F5344CB8AC3E}">
        <p14:creationId xmlns:p14="http://schemas.microsoft.com/office/powerpoint/2010/main" val="41878103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vs Primary key considerations</a:t>
            </a:r>
          </a:p>
        </p:txBody>
      </p:sp>
      <p:graphicFrame>
        <p:nvGraphicFramePr>
          <p:cNvPr id="6" name="Content Placeholder 5">
            <a:extLst>
              <a:ext uri="{FF2B5EF4-FFF2-40B4-BE49-F238E27FC236}">
                <a16:creationId xmlns:a16="http://schemas.microsoft.com/office/drawing/2014/main" id="{FE39FBFC-2347-4F5C-9A5B-6BC4070C7FFE}"/>
              </a:ext>
            </a:extLst>
          </p:cNvPr>
          <p:cNvGraphicFramePr>
            <a:graphicFrameLocks noGrp="1"/>
          </p:cNvGraphicFramePr>
          <p:nvPr>
            <p:ph sz="quarter" idx="13"/>
            <p:extLst>
              <p:ext uri="{D42A27DB-BD31-4B8C-83A1-F6EECF244321}">
                <p14:modId xmlns:p14="http://schemas.microsoft.com/office/powerpoint/2010/main" val="42533293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180026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Strategy</a:t>
            </a:r>
          </a:p>
        </p:txBody>
      </p:sp>
      <p:graphicFrame>
        <p:nvGraphicFramePr>
          <p:cNvPr id="5" name="Content Placeholder 4">
            <a:extLst>
              <a:ext uri="{FF2B5EF4-FFF2-40B4-BE49-F238E27FC236}">
                <a16:creationId xmlns:a16="http://schemas.microsoft.com/office/drawing/2014/main" id="{25A6B57F-352F-4FDB-9602-F090C817F748}"/>
              </a:ext>
            </a:extLst>
          </p:cNvPr>
          <p:cNvGraphicFramePr>
            <a:graphicFrameLocks noGrp="1"/>
          </p:cNvGraphicFramePr>
          <p:nvPr>
            <p:ph sz="quarter" idx="13"/>
          </p:nvPr>
        </p:nvGraphicFramePr>
        <p:xfrm>
          <a:off x="655638" y="1124607"/>
          <a:ext cx="10880726" cy="5413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7456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dex Internals </a:t>
            </a:r>
          </a:p>
          <a:p>
            <a:r>
              <a:rPr lang="en-US" dirty="0"/>
              <a:t>Lesson 2: Index Strategy</a:t>
            </a:r>
          </a:p>
          <a:p>
            <a:r>
              <a:rPr lang="en-US" dirty="0"/>
              <a:t>Lesson 3: Index Monitoring and Fragmentation</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Bookmark Lookup or RID lookup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prstGeom prst="rect">
            <a:avLst/>
          </a:prstGeom>
        </p:spPr>
        <p:txBody>
          <a:bodyPr>
            <a:normAutofit/>
          </a:bodyPr>
          <a:lstStyle/>
          <a:p>
            <a:pPr>
              <a:lnSpc>
                <a:spcPct val="90000"/>
              </a:lnSpc>
            </a:pPr>
            <a:r>
              <a:rPr lang="en-US" sz="1600" dirty="0"/>
              <a:t>Occurs when SQL uses a nonclustered index to satisfy all or some of a query’s predicates, but it doesn’t contain all the information needed to cover the query. </a:t>
            </a:r>
          </a:p>
        </p:txBody>
      </p:sp>
      <p:graphicFrame>
        <p:nvGraphicFramePr>
          <p:cNvPr id="6" name="Content Placeholder 5">
            <a:extLst>
              <a:ext uri="{FF2B5EF4-FFF2-40B4-BE49-F238E27FC236}">
                <a16:creationId xmlns:a16="http://schemas.microsoft.com/office/drawing/2014/main" id="{072122DA-A0C2-49BE-8963-1784B342297D}"/>
              </a:ext>
            </a:extLst>
          </p:cNvPr>
          <p:cNvGraphicFramePr>
            <a:graphicFrameLocks noGrp="1"/>
          </p:cNvGraphicFramePr>
          <p:nvPr>
            <p:ph sz="quarter" idx="13"/>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9C17F93E-6131-44F0-95E1-90672E5C6E58}"/>
              </a:ext>
            </a:extLst>
          </p:cNvPr>
          <p:cNvPicPr>
            <a:picLocks noChangeAspect="1"/>
          </p:cNvPicPr>
          <p:nvPr/>
        </p:nvPicPr>
        <p:blipFill>
          <a:blip r:embed="rId8"/>
          <a:stretch>
            <a:fillRect/>
          </a:stretch>
        </p:blipFill>
        <p:spPr>
          <a:xfrm>
            <a:off x="6096000" y="1600200"/>
            <a:ext cx="5211762" cy="2081021"/>
          </a:xfrm>
          <a:prstGeom prst="rect">
            <a:avLst/>
          </a:prstGeom>
        </p:spPr>
      </p:pic>
      <p:pic>
        <p:nvPicPr>
          <p:cNvPr id="11" name="Picture 10">
            <a:extLst>
              <a:ext uri="{FF2B5EF4-FFF2-40B4-BE49-F238E27FC236}">
                <a16:creationId xmlns:a16="http://schemas.microsoft.com/office/drawing/2014/main" id="{BF6803FB-64B5-490D-8B16-9BFEFEC01874}"/>
              </a:ext>
            </a:extLst>
          </p:cNvPr>
          <p:cNvPicPr>
            <a:picLocks noChangeAspect="1"/>
          </p:cNvPicPr>
          <p:nvPr/>
        </p:nvPicPr>
        <p:blipFill>
          <a:blip r:embed="rId9"/>
          <a:stretch>
            <a:fillRect/>
          </a:stretch>
        </p:blipFill>
        <p:spPr>
          <a:xfrm>
            <a:off x="6260052" y="4033373"/>
            <a:ext cx="5044396" cy="1912903"/>
          </a:xfrm>
          <a:prstGeom prst="rect">
            <a:avLst/>
          </a:prstGeom>
        </p:spPr>
      </p:pic>
    </p:spTree>
    <p:extLst>
      <p:ext uri="{BB962C8B-B14F-4D97-AF65-F5344CB8AC3E}">
        <p14:creationId xmlns:p14="http://schemas.microsoft.com/office/powerpoint/2010/main" val="7208691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61504A-FF00-9714-5B11-FC3861BFB7B9}"/>
              </a:ext>
            </a:extLst>
          </p:cNvPr>
          <p:cNvPicPr>
            <a:picLocks noChangeAspect="1"/>
          </p:cNvPicPr>
          <p:nvPr/>
        </p:nvPicPr>
        <p:blipFill>
          <a:blip r:embed="rId3"/>
          <a:stretch>
            <a:fillRect/>
          </a:stretch>
        </p:blipFill>
        <p:spPr>
          <a:xfrm>
            <a:off x="342405" y="1082210"/>
            <a:ext cx="7529682" cy="4693579"/>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Key Lookup </a:t>
            </a:r>
          </a:p>
        </p:txBody>
      </p:sp>
      <p:pic>
        <p:nvPicPr>
          <p:cNvPr id="5" name="Picture 4">
            <a:extLst>
              <a:ext uri="{FF2B5EF4-FFF2-40B4-BE49-F238E27FC236}">
                <a16:creationId xmlns:a16="http://schemas.microsoft.com/office/drawing/2014/main" id="{2BA5FAAE-4D18-5CE9-B24D-CE23C29F5C3D}"/>
              </a:ext>
            </a:extLst>
          </p:cNvPr>
          <p:cNvPicPr>
            <a:picLocks noChangeAspect="1"/>
          </p:cNvPicPr>
          <p:nvPr/>
        </p:nvPicPr>
        <p:blipFill>
          <a:blip r:embed="rId4"/>
          <a:stretch>
            <a:fillRect/>
          </a:stretch>
        </p:blipFill>
        <p:spPr>
          <a:xfrm>
            <a:off x="6478611" y="3924396"/>
            <a:ext cx="5370984" cy="2381582"/>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5D8E6B07-57FC-4558-8130-C69BD5AC82BD}"/>
              </a:ext>
            </a:extLst>
          </p:cNvPr>
          <p:cNvPicPr>
            <a:picLocks noChangeAspect="1"/>
          </p:cNvPicPr>
          <p:nvPr/>
        </p:nvPicPr>
        <p:blipFill>
          <a:blip r:embed="rId5"/>
          <a:stretch>
            <a:fillRect/>
          </a:stretch>
        </p:blipFill>
        <p:spPr>
          <a:xfrm>
            <a:off x="6478611" y="1984310"/>
            <a:ext cx="5370984" cy="14098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87373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Non-Clustered Index with Included Column </a:t>
            </a:r>
          </a:p>
        </p:txBody>
      </p:sp>
      <p:pic>
        <p:nvPicPr>
          <p:cNvPr id="5" name="Picture 4">
            <a:extLst>
              <a:ext uri="{FF2B5EF4-FFF2-40B4-BE49-F238E27FC236}">
                <a16:creationId xmlns:a16="http://schemas.microsoft.com/office/drawing/2014/main" id="{79AAAB00-C121-4460-B53A-44B7D9A425CA}"/>
              </a:ext>
            </a:extLst>
          </p:cNvPr>
          <p:cNvPicPr>
            <a:picLocks noChangeAspect="1"/>
          </p:cNvPicPr>
          <p:nvPr/>
        </p:nvPicPr>
        <p:blipFill>
          <a:blip r:embed="rId3"/>
          <a:stretch>
            <a:fillRect/>
          </a:stretch>
        </p:blipFill>
        <p:spPr>
          <a:xfrm>
            <a:off x="465666" y="1618515"/>
            <a:ext cx="9164329" cy="294363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44818" y="3467168"/>
            <a:ext cx="6823166" cy="2189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182279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8" y="3124199"/>
            <a:ext cx="4352925" cy="2643188"/>
          </a:xfrm>
        </p:spPr>
        <p:txBody>
          <a:bodyPr/>
          <a:lstStyle/>
          <a:p>
            <a:r>
              <a:rPr lang="en-US" b="1" dirty="0"/>
              <a:t>Non-Clustered Indexes</a:t>
            </a:r>
          </a:p>
          <a:p>
            <a:r>
              <a:rPr lang="en-US" dirty="0"/>
              <a:t>Creating an index that covers a query</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83911594"/>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ingle Vs Multi-column indexes</a:t>
            </a:r>
          </a:p>
        </p:txBody>
      </p:sp>
      <p:graphicFrame>
        <p:nvGraphicFramePr>
          <p:cNvPr id="5" name="Content Placeholder 4">
            <a:extLst>
              <a:ext uri="{FF2B5EF4-FFF2-40B4-BE49-F238E27FC236}">
                <a16:creationId xmlns:a16="http://schemas.microsoft.com/office/drawing/2014/main" id="{5D7438D8-5693-4DB1-95DC-55A0C8D2FCF2}"/>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90244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ulti-Column Indexing Access </a:t>
            </a:r>
          </a:p>
        </p:txBody>
      </p:sp>
      <p:graphicFrame>
        <p:nvGraphicFramePr>
          <p:cNvPr id="6" name="Content Placeholder 5">
            <a:extLst>
              <a:ext uri="{FF2B5EF4-FFF2-40B4-BE49-F238E27FC236}">
                <a16:creationId xmlns:a16="http://schemas.microsoft.com/office/drawing/2014/main" id="{C6DD82E5-4CD6-4965-867A-3C9E652E2635}"/>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86310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eek Predicates) </a:t>
            </a:r>
          </a:p>
        </p:txBody>
      </p:sp>
      <p:pic>
        <p:nvPicPr>
          <p:cNvPr id="7" name="Picture 6">
            <a:extLst>
              <a:ext uri="{FF2B5EF4-FFF2-40B4-BE49-F238E27FC236}">
                <a16:creationId xmlns:a16="http://schemas.microsoft.com/office/drawing/2014/main" id="{4F878944-C4B7-BC2F-9E98-8B98557F50E2}"/>
              </a:ext>
            </a:extLst>
          </p:cNvPr>
          <p:cNvPicPr>
            <a:picLocks noChangeAspect="1"/>
          </p:cNvPicPr>
          <p:nvPr/>
        </p:nvPicPr>
        <p:blipFill>
          <a:blip r:embed="rId3"/>
          <a:stretch>
            <a:fillRect/>
          </a:stretch>
        </p:blipFill>
        <p:spPr>
          <a:xfrm>
            <a:off x="885265" y="3459027"/>
            <a:ext cx="4444515" cy="2689081"/>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3D88253D-B09A-7FD9-F797-A2685B451CEC}"/>
              </a:ext>
            </a:extLst>
          </p:cNvPr>
          <p:cNvSpPr txBox="1"/>
          <p:nvPr/>
        </p:nvSpPr>
        <p:spPr>
          <a:xfrm>
            <a:off x="885264" y="1276165"/>
            <a:ext cx="4444515" cy="138499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Single value performs Index Seek.</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it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98011'</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p:txBody>
      </p:sp>
      <p:pic>
        <p:nvPicPr>
          <p:cNvPr id="10" name="Picture 9">
            <a:extLst>
              <a:ext uri="{FF2B5EF4-FFF2-40B4-BE49-F238E27FC236}">
                <a16:creationId xmlns:a16="http://schemas.microsoft.com/office/drawing/2014/main" id="{EB68024D-575D-BC99-C86E-4637A28C994F}"/>
              </a:ext>
            </a:extLst>
          </p:cNvPr>
          <p:cNvPicPr>
            <a:picLocks noChangeAspect="1"/>
          </p:cNvPicPr>
          <p:nvPr/>
        </p:nvPicPr>
        <p:blipFill>
          <a:blip r:embed="rId4"/>
          <a:stretch>
            <a:fillRect/>
          </a:stretch>
        </p:blipFill>
        <p:spPr>
          <a:xfrm>
            <a:off x="6701883" y="3429000"/>
            <a:ext cx="4444515" cy="2689081"/>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F72DD28C-2E27-9637-93CF-1A2E8EEE3496}"/>
              </a:ext>
            </a:extLst>
          </p:cNvPr>
          <p:cNvSpPr txBox="1"/>
          <p:nvPr/>
        </p:nvSpPr>
        <p:spPr>
          <a:xfrm>
            <a:off x="6283997" y="1243203"/>
            <a:ext cx="5737674"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Index Seek on both column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Search condition in same order as Index.</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it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98011'</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N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885264" y="5338482"/>
            <a:ext cx="4444515" cy="80962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701883" y="4933668"/>
            <a:ext cx="4444515" cy="121443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7756075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77BC58-3294-4452-5A1F-889D4990BFFB}"/>
              </a:ext>
            </a:extLst>
          </p:cNvPr>
          <p:cNvPicPr>
            <a:picLocks noChangeAspect="1"/>
          </p:cNvPicPr>
          <p:nvPr/>
        </p:nvPicPr>
        <p:blipFill>
          <a:blip r:embed="rId3"/>
          <a:stretch>
            <a:fillRect/>
          </a:stretch>
        </p:blipFill>
        <p:spPr>
          <a:xfrm>
            <a:off x="6468036" y="3373647"/>
            <a:ext cx="5371759" cy="2752761"/>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3D34C608-32A1-6A48-4946-B2AE9EC0A68A}"/>
              </a:ext>
            </a:extLst>
          </p:cNvPr>
          <p:cNvPicPr>
            <a:picLocks noChangeAspect="1"/>
          </p:cNvPicPr>
          <p:nvPr/>
        </p:nvPicPr>
        <p:blipFill>
          <a:blip r:embed="rId4"/>
          <a:stretch>
            <a:fillRect/>
          </a:stretch>
        </p:blipFill>
        <p:spPr>
          <a:xfrm>
            <a:off x="655638" y="3182028"/>
            <a:ext cx="4713065" cy="3331831"/>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can Predicates) </a:t>
            </a:r>
          </a:p>
        </p:txBody>
      </p:sp>
      <p:sp>
        <p:nvSpPr>
          <p:cNvPr id="8" name="TextBox 7">
            <a:extLst>
              <a:ext uri="{FF2B5EF4-FFF2-40B4-BE49-F238E27FC236}">
                <a16:creationId xmlns:a16="http://schemas.microsoft.com/office/drawing/2014/main" id="{3D88253D-B09A-7FD9-F797-A2685B451CEC}"/>
              </a:ext>
            </a:extLst>
          </p:cNvPr>
          <p:cNvSpPr txBox="1"/>
          <p:nvPr/>
        </p:nvSpPr>
        <p:spPr>
          <a:xfrm>
            <a:off x="655638" y="1150870"/>
            <a:ext cx="5022740" cy="16619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Index Seek on first column</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After seek, will scan second column</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it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98011'</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N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ity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Bothell'</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p:txBody>
      </p:sp>
      <p:sp>
        <p:nvSpPr>
          <p:cNvPr id="12" name="TextBox 11">
            <a:extLst>
              <a:ext uri="{FF2B5EF4-FFF2-40B4-BE49-F238E27FC236}">
                <a16:creationId xmlns:a16="http://schemas.microsoft.com/office/drawing/2014/main" id="{F72DD28C-2E27-9637-93CF-1A2E8EEE3496}"/>
              </a:ext>
            </a:extLst>
          </p:cNvPr>
          <p:cNvSpPr txBox="1"/>
          <p:nvPr/>
        </p:nvSpPr>
        <p:spPr>
          <a:xfrm>
            <a:off x="6283997" y="1012349"/>
            <a:ext cx="5737674"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Search condition not in same order as Index.</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Performs Index Scan.</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City</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ostal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Person</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ddres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HER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StateProvinceID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655638" y="5642609"/>
            <a:ext cx="4713065" cy="8712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468036" y="3373647"/>
            <a:ext cx="5371759" cy="126390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Arrow: Curved Up 5">
            <a:extLst>
              <a:ext uri="{FF2B5EF4-FFF2-40B4-BE49-F238E27FC236}">
                <a16:creationId xmlns:a16="http://schemas.microsoft.com/office/drawing/2014/main" id="{802AB1A5-0DAD-70EE-F8C7-D3159191B384}"/>
              </a:ext>
            </a:extLst>
          </p:cNvPr>
          <p:cNvSpPr/>
          <p:nvPr/>
        </p:nvSpPr>
        <p:spPr bwMode="auto">
          <a:xfrm rot="16200000">
            <a:off x="4541249" y="4390544"/>
            <a:ext cx="1936538" cy="1438835"/>
          </a:xfrm>
          <a:prstGeom prst="curvedUpArrow">
            <a:avLst/>
          </a:prstGeom>
          <a:solidFill>
            <a:srgbClr val="D83B01"/>
          </a:solidFill>
          <a:ln w="381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034571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Multiple Column Indexes</a:t>
            </a:r>
          </a:p>
          <a:p>
            <a:r>
              <a:rPr lang="en-US" dirty="0"/>
              <a:t>Demonstrate seeks and scans with multiple column indexe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867852108"/>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The Tipping Point (Seeks vs Scans)</a:t>
            </a:r>
          </a:p>
        </p:txBody>
      </p:sp>
      <p:graphicFrame>
        <p:nvGraphicFramePr>
          <p:cNvPr id="3" name="Diagram 2">
            <a:extLst>
              <a:ext uri="{FF2B5EF4-FFF2-40B4-BE49-F238E27FC236}">
                <a16:creationId xmlns:a16="http://schemas.microsoft.com/office/drawing/2014/main" id="{F5DA7128-E552-C169-48F3-5878E2673B8D}"/>
              </a:ext>
            </a:extLst>
          </p:cNvPr>
          <p:cNvGraphicFramePr/>
          <p:nvPr/>
        </p:nvGraphicFramePr>
        <p:xfrm>
          <a:off x="756601" y="2379944"/>
          <a:ext cx="10678798" cy="40701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4" name="Group 23">
            <a:extLst>
              <a:ext uri="{FF2B5EF4-FFF2-40B4-BE49-F238E27FC236}">
                <a16:creationId xmlns:a16="http://schemas.microsoft.com/office/drawing/2014/main" id="{DBF3AFA8-902C-CD6C-6277-97B9DAE4A486}"/>
              </a:ext>
            </a:extLst>
          </p:cNvPr>
          <p:cNvGrpSpPr/>
          <p:nvPr/>
        </p:nvGrpSpPr>
        <p:grpSpPr>
          <a:xfrm>
            <a:off x="1390389" y="1267046"/>
            <a:ext cx="10571103" cy="940080"/>
            <a:chOff x="1039660" y="5503087"/>
            <a:chExt cx="9882811" cy="940080"/>
          </a:xfrm>
        </p:grpSpPr>
        <p:cxnSp>
          <p:nvCxnSpPr>
            <p:cNvPr id="6" name="Straight Arrow Connector 5">
              <a:extLst>
                <a:ext uri="{FF2B5EF4-FFF2-40B4-BE49-F238E27FC236}">
                  <a16:creationId xmlns:a16="http://schemas.microsoft.com/office/drawing/2014/main" id="{1F47ABF2-BEB5-5D99-D43C-01D18164DEDB}"/>
                </a:ext>
              </a:extLst>
            </p:cNvPr>
            <p:cNvCxnSpPr>
              <a:cxnSpLocks/>
            </p:cNvCxnSpPr>
            <p:nvPr/>
          </p:nvCxnSpPr>
          <p:spPr>
            <a:xfrm>
              <a:off x="1039660" y="5962389"/>
              <a:ext cx="2292263" cy="0"/>
            </a:xfrm>
            <a:prstGeom prst="straightConnector1">
              <a:avLst/>
            </a:prstGeom>
            <a:ln w="762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3A95447-D155-71A6-EF44-C945A42469D0}"/>
                </a:ext>
              </a:extLst>
            </p:cNvPr>
            <p:cNvCxnSpPr>
              <a:cxnSpLocks/>
            </p:cNvCxnSpPr>
            <p:nvPr/>
          </p:nvCxnSpPr>
          <p:spPr>
            <a:xfrm>
              <a:off x="3331923" y="5962389"/>
              <a:ext cx="1553228" cy="0"/>
            </a:xfrm>
            <a:prstGeom prst="straightConnector1">
              <a:avLst/>
            </a:prstGeom>
            <a:ln w="76200">
              <a:solidFill>
                <a:schemeClr val="accent1"/>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41BB37F-4071-BE7D-411C-9C69313FD6EA}"/>
                </a:ext>
              </a:extLst>
            </p:cNvPr>
            <p:cNvCxnSpPr>
              <a:cxnSpLocks/>
            </p:cNvCxnSpPr>
            <p:nvPr/>
          </p:nvCxnSpPr>
          <p:spPr>
            <a:xfrm>
              <a:off x="4885150" y="5971015"/>
              <a:ext cx="4772416" cy="0"/>
            </a:xfrm>
            <a:prstGeom prst="straightConnector1">
              <a:avLst/>
            </a:prstGeom>
            <a:ln w="762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B6D5E9F-BF8B-2FEA-B2E8-401865046B1A}"/>
                </a:ext>
              </a:extLst>
            </p:cNvPr>
            <p:cNvSpPr txBox="1"/>
            <p:nvPr/>
          </p:nvSpPr>
          <p:spPr>
            <a:xfrm>
              <a:off x="9932914" y="5804601"/>
              <a:ext cx="98955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Pages</a:t>
              </a:r>
            </a:p>
          </p:txBody>
        </p:sp>
        <p:sp>
          <p:nvSpPr>
            <p:cNvPr id="15" name="TextBox 14">
              <a:extLst>
                <a:ext uri="{FF2B5EF4-FFF2-40B4-BE49-F238E27FC236}">
                  <a16:creationId xmlns:a16="http://schemas.microsoft.com/office/drawing/2014/main" id="{5BC2AF76-8046-A10F-5ECD-44F707AE617C}"/>
                </a:ext>
              </a:extLst>
            </p:cNvPr>
            <p:cNvSpPr txBox="1"/>
            <p:nvPr/>
          </p:nvSpPr>
          <p:spPr>
            <a:xfrm>
              <a:off x="6030236" y="5503087"/>
              <a:ext cx="2757593"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Lookups are expensive</a:t>
              </a:r>
            </a:p>
          </p:txBody>
        </p:sp>
        <p:sp>
          <p:nvSpPr>
            <p:cNvPr id="16" name="TextBox 15">
              <a:extLst>
                <a:ext uri="{FF2B5EF4-FFF2-40B4-BE49-F238E27FC236}">
                  <a16:creationId xmlns:a16="http://schemas.microsoft.com/office/drawing/2014/main" id="{18CFCC73-F438-2B88-65E2-A541FE2F40E1}"/>
                </a:ext>
              </a:extLst>
            </p:cNvPr>
            <p:cNvSpPr txBox="1"/>
            <p:nvPr/>
          </p:nvSpPr>
          <p:spPr>
            <a:xfrm>
              <a:off x="3331924" y="5503087"/>
              <a:ext cx="165343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Tipping Point</a:t>
              </a:r>
            </a:p>
          </p:txBody>
        </p:sp>
        <p:sp>
          <p:nvSpPr>
            <p:cNvPr id="17" name="TextBox 16">
              <a:extLst>
                <a:ext uri="{FF2B5EF4-FFF2-40B4-BE49-F238E27FC236}">
                  <a16:creationId xmlns:a16="http://schemas.microsoft.com/office/drawing/2014/main" id="{DAC5AF8C-A35B-8054-BD19-1BB2FFA89509}"/>
                </a:ext>
              </a:extLst>
            </p:cNvPr>
            <p:cNvSpPr txBox="1"/>
            <p:nvPr/>
          </p:nvSpPr>
          <p:spPr>
            <a:xfrm>
              <a:off x="1171186" y="5503087"/>
              <a:ext cx="216073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Selective Query</a:t>
              </a:r>
            </a:p>
          </p:txBody>
        </p:sp>
        <p:sp>
          <p:nvSpPr>
            <p:cNvPr id="20" name="TextBox 19">
              <a:extLst>
                <a:ext uri="{FF2B5EF4-FFF2-40B4-BE49-F238E27FC236}">
                  <a16:creationId xmlns:a16="http://schemas.microsoft.com/office/drawing/2014/main" id="{33E78C98-5F56-DE66-C663-14E6D412F57C}"/>
                </a:ext>
              </a:extLst>
            </p:cNvPr>
            <p:cNvSpPr txBox="1"/>
            <p:nvPr/>
          </p:nvSpPr>
          <p:spPr>
            <a:xfrm>
              <a:off x="3174934" y="6135391"/>
              <a:ext cx="494779" cy="30777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1/4</a:t>
              </a:r>
            </a:p>
          </p:txBody>
        </p:sp>
        <p:sp>
          <p:nvSpPr>
            <p:cNvPr id="21" name="TextBox 20">
              <a:extLst>
                <a:ext uri="{FF2B5EF4-FFF2-40B4-BE49-F238E27FC236}">
                  <a16:creationId xmlns:a16="http://schemas.microsoft.com/office/drawing/2014/main" id="{517D3DED-B60B-89CB-2663-EA02A1189F2E}"/>
                </a:ext>
              </a:extLst>
            </p:cNvPr>
            <p:cNvSpPr txBox="1"/>
            <p:nvPr/>
          </p:nvSpPr>
          <p:spPr>
            <a:xfrm>
              <a:off x="4637761" y="6135391"/>
              <a:ext cx="494779" cy="30777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43A5E"/>
                  </a:solidFill>
                  <a:effectLst/>
                  <a:uLnTx/>
                  <a:uFillTx/>
                  <a:latin typeface="Segoe UI"/>
                  <a:ea typeface="+mn-ea"/>
                  <a:cs typeface="+mn-cs"/>
                </a:rPr>
                <a:t>1/3</a:t>
              </a:r>
            </a:p>
          </p:txBody>
        </p:sp>
      </p:grpSp>
    </p:spTree>
    <p:extLst>
      <p:ext uri="{BB962C8B-B14F-4D97-AF65-F5344CB8AC3E}">
        <p14:creationId xmlns:p14="http://schemas.microsoft.com/office/powerpoint/2010/main" val="2781550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dex Internals </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The Tipping Point</a:t>
            </a:r>
          </a:p>
          <a:p>
            <a:r>
              <a:rPr lang="en-US" dirty="0"/>
              <a:t>Demonstrate seeks vs scan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769633906"/>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079162" cy="604798"/>
          </a:xfrm>
        </p:spPr>
        <p:txBody>
          <a:bodyPr/>
          <a:lstStyle/>
          <a:p>
            <a:r>
              <a:rPr lang="en-US" dirty="0"/>
              <a:t>Lesson 3: Index Monitoring and Fragmentation</a:t>
            </a:r>
          </a:p>
        </p:txBody>
      </p:sp>
    </p:spTree>
    <p:extLst>
      <p:ext uri="{BB962C8B-B14F-4D97-AF65-F5344CB8AC3E}">
        <p14:creationId xmlns:p14="http://schemas.microsoft.com/office/powerpoint/2010/main" val="32650423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Monitor index usage.</a:t>
            </a:r>
          </a:p>
          <a:p>
            <a:r>
              <a:rPr lang="en-US"/>
              <a:t>Describe page splits.</a:t>
            </a:r>
          </a:p>
          <a:p>
            <a:r>
              <a:rPr lang="en-US"/>
              <a:t>Understand problems caused by page splits.</a:t>
            </a:r>
          </a:p>
          <a:p>
            <a:r>
              <a:rPr lang="en-US"/>
              <a:t>Monitor index fragmentation and free space.</a:t>
            </a:r>
          </a:p>
          <a:p>
            <a:r>
              <a:rPr lang="en-US"/>
              <a:t>Review options to remove fragmentation and free spa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y to monitor Index usage</a:t>
            </a:r>
          </a:p>
        </p:txBody>
      </p:sp>
      <p:graphicFrame>
        <p:nvGraphicFramePr>
          <p:cNvPr id="7" name="Content Placeholder 6">
            <a:extLst>
              <a:ext uri="{FF2B5EF4-FFF2-40B4-BE49-F238E27FC236}">
                <a16:creationId xmlns:a16="http://schemas.microsoft.com/office/drawing/2014/main" id="{8E814E8D-720B-47C9-8A1F-4441C2B85411}"/>
              </a:ext>
            </a:extLst>
          </p:cNvPr>
          <p:cNvGraphicFramePr>
            <a:graphicFrameLocks noGrp="1"/>
          </p:cNvGraphicFramePr>
          <p:nvPr>
            <p:ph sz="quarter" idx="13"/>
            <p:extLst>
              <p:ext uri="{D42A27DB-BD31-4B8C-83A1-F6EECF244321}">
                <p14:modId xmlns:p14="http://schemas.microsoft.com/office/powerpoint/2010/main" val="3687406344"/>
              </p:ext>
            </p:extLst>
          </p:nvPr>
        </p:nvGraphicFramePr>
        <p:xfrm>
          <a:off x="655638" y="1408114"/>
          <a:ext cx="10880726" cy="4663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4295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usage patterns</a:t>
            </a:r>
          </a:p>
        </p:txBody>
      </p:sp>
      <p:graphicFrame>
        <p:nvGraphicFramePr>
          <p:cNvPr id="10" name="Table 5">
            <a:extLst>
              <a:ext uri="{FF2B5EF4-FFF2-40B4-BE49-F238E27FC236}">
                <a16:creationId xmlns:a16="http://schemas.microsoft.com/office/drawing/2014/main" id="{7FC218A8-88B5-4B09-9039-98226F89CDF8}"/>
              </a:ext>
            </a:extLst>
          </p:cNvPr>
          <p:cNvGraphicFramePr>
            <a:graphicFrameLocks noGrp="1"/>
          </p:cNvGraphicFramePr>
          <p:nvPr>
            <p:ph sz="quarter" idx="13"/>
            <p:extLst>
              <p:ext uri="{D42A27DB-BD31-4B8C-83A1-F6EECF244321}">
                <p14:modId xmlns:p14="http://schemas.microsoft.com/office/powerpoint/2010/main" val="3294335331"/>
              </p:ext>
            </p:extLst>
          </p:nvPr>
        </p:nvGraphicFramePr>
        <p:xfrm>
          <a:off x="655638" y="1408113"/>
          <a:ext cx="10880724" cy="4443454"/>
        </p:xfrm>
        <a:graphic>
          <a:graphicData uri="http://schemas.openxmlformats.org/drawingml/2006/table">
            <a:tbl>
              <a:tblPr firstRow="1" bandRow="1">
                <a:tableStyleId>{21E4AEA4-8DFA-4A89-87EB-49C32662AFE0}</a:tableStyleId>
              </a:tblPr>
              <a:tblGrid>
                <a:gridCol w="4754562">
                  <a:extLst>
                    <a:ext uri="{9D8B030D-6E8A-4147-A177-3AD203B41FA5}">
                      <a16:colId xmlns:a16="http://schemas.microsoft.com/office/drawing/2014/main" val="3431258406"/>
                    </a:ext>
                  </a:extLst>
                </a:gridCol>
                <a:gridCol w="6126162">
                  <a:extLst>
                    <a:ext uri="{9D8B030D-6E8A-4147-A177-3AD203B41FA5}">
                      <a16:colId xmlns:a16="http://schemas.microsoft.com/office/drawing/2014/main" val="3006042379"/>
                    </a:ext>
                  </a:extLst>
                </a:gridCol>
              </a:tblGrid>
              <a:tr h="621257">
                <a:tc>
                  <a:txBody>
                    <a:bodyPr/>
                    <a:lstStyle/>
                    <a:p>
                      <a:r>
                        <a:rPr lang="en-US" sz="2400" dirty="0"/>
                        <a:t>Pattern</a:t>
                      </a:r>
                    </a:p>
                  </a:txBody>
                  <a:tcPr marL="93260" marR="93260" marT="46630" marB="46630"/>
                </a:tc>
                <a:tc>
                  <a:txBody>
                    <a:bodyPr/>
                    <a:lstStyle/>
                    <a:p>
                      <a:r>
                        <a:rPr lang="en-US" sz="2400"/>
                        <a:t>Interpretation</a:t>
                      </a:r>
                    </a:p>
                  </a:txBody>
                  <a:tcPr marL="93260" marR="93260" marT="46630" marB="46630"/>
                </a:tc>
                <a:extLst>
                  <a:ext uri="{0D108BD9-81ED-4DB2-BD59-A6C34878D82A}">
                    <a16:rowId xmlns:a16="http://schemas.microsoft.com/office/drawing/2014/main" val="2280401480"/>
                  </a:ext>
                </a:extLst>
              </a:tr>
              <a:tr h="1075357">
                <a:tc>
                  <a:txBody>
                    <a:bodyPr/>
                    <a:lstStyle/>
                    <a:p>
                      <a:pPr lvl="0"/>
                      <a:r>
                        <a:rPr lang="en-US" sz="2400"/>
                        <a:t>Seeks, but no scans</a:t>
                      </a:r>
                    </a:p>
                  </a:txBody>
                  <a:tcPr marL="93260" marR="93260" marT="46630" marB="46630"/>
                </a:tc>
                <a:tc>
                  <a:txBody>
                    <a:bodyPr/>
                    <a:lstStyle/>
                    <a:p>
                      <a:pPr marL="342900" indent="-342900">
                        <a:buFont typeface="Arial" panose="020B0604020202020204" pitchFamily="34" charset="0"/>
                        <a:buChar char="•"/>
                      </a:pPr>
                      <a:r>
                        <a:rPr lang="en-US" sz="2400" dirty="0"/>
                        <a:t>May not need maintenance.  Seeks are not impacted by fragmentation</a:t>
                      </a:r>
                    </a:p>
                  </a:txBody>
                  <a:tcPr marL="93260" marR="93260" marT="46630" marB="46630"/>
                </a:tc>
                <a:extLst>
                  <a:ext uri="{0D108BD9-81ED-4DB2-BD59-A6C34878D82A}">
                    <a16:rowId xmlns:a16="http://schemas.microsoft.com/office/drawing/2014/main" val="858754707"/>
                  </a:ext>
                </a:extLst>
              </a:tr>
              <a:tr h="153491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baseline="0"/>
                        <a:t>Clustered index with High number of scans</a:t>
                      </a:r>
                      <a:endParaRPr lang="en-US" sz="2400"/>
                    </a:p>
                  </a:txBody>
                  <a:tcPr marL="93260" marR="93260" marT="46630" marB="4663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Review missing index recommendation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Consider changing Clustering key.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Simplify queries with complex WHERE clauses</a:t>
                      </a:r>
                    </a:p>
                  </a:txBody>
                  <a:tcPr marL="93260" marR="93260" marT="46630" marB="46630"/>
                </a:tc>
                <a:extLst>
                  <a:ext uri="{0D108BD9-81ED-4DB2-BD59-A6C34878D82A}">
                    <a16:rowId xmlns:a16="http://schemas.microsoft.com/office/drawing/2014/main" val="2761090164"/>
                  </a:ext>
                </a:extLst>
              </a:tr>
              <a:tr h="1075357">
                <a:tc>
                  <a:txBody>
                    <a:bodyPr/>
                    <a:lstStyle/>
                    <a:p>
                      <a:r>
                        <a:rPr lang="en-US" sz="2400" baseline="0"/>
                        <a:t>Clustered index with Low number of seeks and high number of lookups  </a:t>
                      </a:r>
                      <a:endParaRPr lang="en-US" sz="2400"/>
                    </a:p>
                  </a:txBody>
                  <a:tcPr marL="93260" marR="93260" marT="46630" marB="46630"/>
                </a:tc>
                <a:tc>
                  <a:txBody>
                    <a:bodyPr/>
                    <a:lstStyle/>
                    <a:p>
                      <a:pPr marL="285750" indent="-285750">
                        <a:buFont typeface="Arial" panose="020B0604020202020204" pitchFamily="34" charset="0"/>
                        <a:buChar char="•"/>
                      </a:pPr>
                      <a:r>
                        <a:rPr lang="en-US" sz="2400" dirty="0"/>
                        <a:t>May need</a:t>
                      </a:r>
                      <a:r>
                        <a:rPr lang="en-US" sz="2400" baseline="0" dirty="0"/>
                        <a:t> to change Clustering Key</a:t>
                      </a:r>
                    </a:p>
                    <a:p>
                      <a:pPr marL="285750" indent="-285750">
                        <a:buFont typeface="Arial" panose="020B0604020202020204" pitchFamily="34" charset="0"/>
                        <a:buChar char="•"/>
                      </a:pPr>
                      <a:r>
                        <a:rPr lang="en-US" sz="2400" baseline="0" dirty="0">
                          <a:solidFill>
                            <a:schemeClr val="tx1"/>
                          </a:solidFill>
                        </a:rPr>
                        <a:t>Look how often bookmark lookups occur.</a:t>
                      </a:r>
                      <a:endParaRPr lang="en-US" sz="2400" dirty="0">
                        <a:solidFill>
                          <a:schemeClr val="tx1"/>
                        </a:solidFill>
                      </a:endParaRPr>
                    </a:p>
                  </a:txBody>
                  <a:tcPr marL="93260" marR="93260" marT="46630" marB="46630"/>
                </a:tc>
                <a:extLst>
                  <a:ext uri="{0D108BD9-81ED-4DB2-BD59-A6C34878D82A}">
                    <a16:rowId xmlns:a16="http://schemas.microsoft.com/office/drawing/2014/main" val="3610092313"/>
                  </a:ext>
                </a:extLst>
              </a:tr>
            </a:tbl>
          </a:graphicData>
        </a:graphic>
      </p:graphicFrame>
    </p:spTree>
    <p:extLst>
      <p:ext uri="{BB962C8B-B14F-4D97-AF65-F5344CB8AC3E}">
        <p14:creationId xmlns:p14="http://schemas.microsoft.com/office/powerpoint/2010/main" val="25085062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usage patterns</a:t>
            </a:r>
          </a:p>
        </p:txBody>
      </p:sp>
      <p:graphicFrame>
        <p:nvGraphicFramePr>
          <p:cNvPr id="5" name="Table 4">
            <a:extLst>
              <a:ext uri="{FF2B5EF4-FFF2-40B4-BE49-F238E27FC236}">
                <a16:creationId xmlns:a16="http://schemas.microsoft.com/office/drawing/2014/main" id="{D3FE1FB0-9FF4-44EA-99AB-92BAF660D1B8}"/>
              </a:ext>
            </a:extLst>
          </p:cNvPr>
          <p:cNvGraphicFramePr>
            <a:graphicFrameLocks noGrp="1"/>
          </p:cNvGraphicFramePr>
          <p:nvPr>
            <p:extLst>
              <p:ext uri="{D42A27DB-BD31-4B8C-83A1-F6EECF244321}">
                <p14:modId xmlns:p14="http://schemas.microsoft.com/office/powerpoint/2010/main" val="924053813"/>
              </p:ext>
            </p:extLst>
          </p:nvPr>
        </p:nvGraphicFramePr>
        <p:xfrm>
          <a:off x="655635" y="1482728"/>
          <a:ext cx="10880725" cy="4559195"/>
        </p:xfrm>
        <a:graphic>
          <a:graphicData uri="http://schemas.openxmlformats.org/drawingml/2006/table">
            <a:tbl>
              <a:tblPr firstRow="1" bandRow="1">
                <a:tableStyleId>{21E4AEA4-8DFA-4A89-87EB-49C32662AFE0}</a:tableStyleId>
              </a:tblPr>
              <a:tblGrid>
                <a:gridCol w="4983165">
                  <a:extLst>
                    <a:ext uri="{9D8B030D-6E8A-4147-A177-3AD203B41FA5}">
                      <a16:colId xmlns:a16="http://schemas.microsoft.com/office/drawing/2014/main" val="3752103025"/>
                    </a:ext>
                  </a:extLst>
                </a:gridCol>
                <a:gridCol w="5897560">
                  <a:extLst>
                    <a:ext uri="{9D8B030D-6E8A-4147-A177-3AD203B41FA5}">
                      <a16:colId xmlns:a16="http://schemas.microsoft.com/office/drawing/2014/main" val="1247980702"/>
                    </a:ext>
                  </a:extLst>
                </a:gridCol>
              </a:tblGrid>
              <a:tr h="553761">
                <a:tc>
                  <a:txBody>
                    <a:bodyPr/>
                    <a:lstStyle/>
                    <a:p>
                      <a:r>
                        <a:rPr lang="en-US" sz="2400"/>
                        <a:t>Pattern</a:t>
                      </a:r>
                    </a:p>
                  </a:txBody>
                  <a:tcPr marL="93260" marR="93260" marT="46630" marB="46630"/>
                </a:tc>
                <a:tc>
                  <a:txBody>
                    <a:bodyPr/>
                    <a:lstStyle/>
                    <a:p>
                      <a:r>
                        <a:rPr lang="en-US" sz="2400"/>
                        <a:t>Interpretation</a:t>
                      </a:r>
                    </a:p>
                  </a:txBody>
                  <a:tcPr marL="93260" marR="93260" marT="46630" marB="46630"/>
                </a:tc>
                <a:extLst>
                  <a:ext uri="{0D108BD9-81ED-4DB2-BD59-A6C34878D82A}">
                    <a16:rowId xmlns:a16="http://schemas.microsoft.com/office/drawing/2014/main" val="3668449087"/>
                  </a:ext>
                </a:extLst>
              </a:tr>
              <a:tr h="939817">
                <a:tc>
                  <a:txBody>
                    <a:bodyPr/>
                    <a:lstStyle/>
                    <a:p>
                      <a:pPr lvl="0"/>
                      <a:r>
                        <a:rPr lang="en-US" sz="2400"/>
                        <a:t>Seeks, but no scans</a:t>
                      </a:r>
                    </a:p>
                  </a:txBody>
                  <a:tcPr marL="93260" marR="93260" marT="46630" marB="46630"/>
                </a:tc>
                <a:tc>
                  <a:txBody>
                    <a:bodyPr/>
                    <a:lstStyle/>
                    <a:p>
                      <a:pPr marL="285750" indent="-285750">
                        <a:buFont typeface="Arial" panose="020B0604020202020204" pitchFamily="34" charset="0"/>
                        <a:buChar char="•"/>
                      </a:pPr>
                      <a:r>
                        <a:rPr lang="en-US" sz="2400"/>
                        <a:t>May not need maintenance.  </a:t>
                      </a:r>
                    </a:p>
                    <a:p>
                      <a:pPr marL="285750" indent="-285750">
                        <a:buFont typeface="Arial" panose="020B0604020202020204" pitchFamily="34" charset="0"/>
                        <a:buChar char="•"/>
                      </a:pPr>
                      <a:r>
                        <a:rPr lang="en-US" sz="2400"/>
                        <a:t>Seeks are not impacted by fragmentation</a:t>
                      </a:r>
                    </a:p>
                  </a:txBody>
                  <a:tcPr marL="93260" marR="93260" marT="46630" marB="46630"/>
                </a:tc>
                <a:extLst>
                  <a:ext uri="{0D108BD9-81ED-4DB2-BD59-A6C34878D82A}">
                    <a16:rowId xmlns:a16="http://schemas.microsoft.com/office/drawing/2014/main" val="4255939635"/>
                  </a:ext>
                </a:extLst>
              </a:tr>
              <a:tr h="1341453">
                <a:tc>
                  <a:txBody>
                    <a:bodyPr/>
                    <a:lstStyle/>
                    <a:p>
                      <a:pPr lvl="0"/>
                      <a:r>
                        <a:rPr lang="en-US" sz="2400" dirty="0"/>
                        <a:t>Non-Clustered index with High </a:t>
                      </a:r>
                      <a:r>
                        <a:rPr lang="en-US" sz="2400" baseline="0" dirty="0"/>
                        <a:t>number of </a:t>
                      </a:r>
                      <a:r>
                        <a:rPr lang="en-US" sz="2400" dirty="0"/>
                        <a:t>scans</a:t>
                      </a:r>
                    </a:p>
                  </a:txBody>
                  <a:tcPr marL="93260" marR="93260" marT="46630" marB="46630"/>
                </a:tc>
                <a:tc>
                  <a:txBody>
                    <a:bodyPr/>
                    <a:lstStyle/>
                    <a:p>
                      <a:pPr marL="285750" indent="-285750">
                        <a:buFont typeface="Arial" panose="020B0604020202020204" pitchFamily="34" charset="0"/>
                        <a:buChar char="•"/>
                      </a:pPr>
                      <a:r>
                        <a:rPr lang="en-US" sz="2400" baseline="0" dirty="0"/>
                        <a:t>Consider compression.  </a:t>
                      </a:r>
                    </a:p>
                    <a:p>
                      <a:pPr marL="285750" indent="-285750">
                        <a:buFont typeface="Arial" panose="020B0604020202020204" pitchFamily="34" charset="0"/>
                        <a:buChar char="•"/>
                      </a:pPr>
                      <a:r>
                        <a:rPr lang="en-US" sz="2400" baseline="0" dirty="0"/>
                        <a:t>Check for non-SARGable queries. </a:t>
                      </a:r>
                    </a:p>
                    <a:p>
                      <a:pPr marL="285750" indent="-285750">
                        <a:buFont typeface="Arial" panose="020B0604020202020204" pitchFamily="34" charset="0"/>
                        <a:buChar char="•"/>
                      </a:pPr>
                      <a:r>
                        <a:rPr lang="en-US" sz="2400" baseline="0" dirty="0"/>
                        <a:t>Review missing index recommendations</a:t>
                      </a:r>
                    </a:p>
                  </a:txBody>
                  <a:tcPr marL="93260" marR="93260" marT="46630" marB="46630"/>
                </a:tc>
                <a:extLst>
                  <a:ext uri="{0D108BD9-81ED-4DB2-BD59-A6C34878D82A}">
                    <a16:rowId xmlns:a16="http://schemas.microsoft.com/office/drawing/2014/main" val="279648954"/>
                  </a:ext>
                </a:extLst>
              </a:tr>
              <a:tr h="5537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a:t>Index with No/low usage</a:t>
                      </a:r>
                    </a:p>
                  </a:txBody>
                  <a:tcPr marL="93260" marR="93260" marT="46630" marB="46630"/>
                </a:tc>
                <a:tc>
                  <a:txBody>
                    <a:bodyPr/>
                    <a:lstStyle/>
                    <a:p>
                      <a:pPr marL="342900" indent="-342900">
                        <a:buFont typeface="Arial" panose="020B0604020202020204" pitchFamily="34" charset="0"/>
                        <a:buChar char="•"/>
                      </a:pPr>
                      <a:r>
                        <a:rPr lang="en-US" sz="2400"/>
                        <a:t>May be able to drop or disable</a:t>
                      </a:r>
                      <a:r>
                        <a:rPr lang="en-US" sz="2400" baseline="0"/>
                        <a:t> </a:t>
                      </a:r>
                      <a:r>
                        <a:rPr lang="en-US" sz="2400"/>
                        <a:t>index</a:t>
                      </a:r>
                    </a:p>
                  </a:txBody>
                  <a:tcPr marL="93260" marR="93260" marT="46630" marB="46630"/>
                </a:tc>
                <a:extLst>
                  <a:ext uri="{0D108BD9-81ED-4DB2-BD59-A6C34878D82A}">
                    <a16:rowId xmlns:a16="http://schemas.microsoft.com/office/drawing/2014/main" val="1529751204"/>
                  </a:ext>
                </a:extLst>
              </a:tr>
              <a:tr h="91968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dirty="0"/>
                        <a:t>Non-Clustered Index Used at specific times only</a:t>
                      </a:r>
                    </a:p>
                  </a:txBody>
                  <a:tcPr marL="93260" marR="93260" marT="46630" marB="46630"/>
                </a:tc>
                <a:tc>
                  <a:txBody>
                    <a:bodyPr/>
                    <a:lstStyle/>
                    <a:p>
                      <a:pPr marL="342900" indent="-342900">
                        <a:buFont typeface="Arial" panose="020B0604020202020204" pitchFamily="34" charset="0"/>
                        <a:buChar char="•"/>
                      </a:pPr>
                      <a:r>
                        <a:rPr lang="en-US" sz="2400" dirty="0"/>
                        <a:t>May be able to drop index,</a:t>
                      </a:r>
                      <a:r>
                        <a:rPr lang="en-US" sz="2400" baseline="0" dirty="0"/>
                        <a:t> recreate when needed</a:t>
                      </a:r>
                      <a:endParaRPr lang="en-US" sz="2400" dirty="0"/>
                    </a:p>
                  </a:txBody>
                  <a:tcPr marL="93260" marR="93260" marT="46630" marB="46630"/>
                </a:tc>
                <a:extLst>
                  <a:ext uri="{0D108BD9-81ED-4DB2-BD59-A6C34878D82A}">
                    <a16:rowId xmlns:a16="http://schemas.microsoft.com/office/drawing/2014/main" val="2521046871"/>
                  </a:ext>
                </a:extLst>
              </a:tr>
            </a:tbl>
          </a:graphicData>
        </a:graphic>
      </p:graphicFrame>
    </p:spTree>
    <p:extLst>
      <p:ext uri="{BB962C8B-B14F-4D97-AF65-F5344CB8AC3E}">
        <p14:creationId xmlns:p14="http://schemas.microsoft.com/office/powerpoint/2010/main" val="6689745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da-DK" dirty="0">
                <a:solidFill>
                  <a:srgbClr val="107C10"/>
                </a:solidFill>
              </a:rPr>
              <a:t>sys.dm_db_index_usage_stats</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lvl="1"/>
            <a:r>
              <a:rPr lang="en-US" sz="2400" dirty="0"/>
              <a:t>Tracks seeks, scans, and lookups</a:t>
            </a:r>
          </a:p>
          <a:p>
            <a:pPr lvl="1"/>
            <a:r>
              <a:rPr lang="en-US" sz="2400" dirty="0"/>
              <a:t>Provides date of last access</a:t>
            </a:r>
          </a:p>
          <a:p>
            <a:pPr lvl="1"/>
            <a:r>
              <a:rPr lang="en-US" sz="2400" dirty="0"/>
              <a:t>Counters are incremented once per query execution</a:t>
            </a:r>
          </a:p>
          <a:p>
            <a:pPr lvl="1"/>
            <a:r>
              <a:rPr lang="en-US" sz="2400" dirty="0"/>
              <a:t>User and system access (such as index rebuilds) are tallied </a:t>
            </a:r>
            <a:r>
              <a:rPr lang="en-US" sz="2400" dirty="0">
                <a:cs typeface="Segoe UI" panose="020B0502040204020203" pitchFamily="34" charset="0"/>
              </a:rPr>
              <a:t>separately</a:t>
            </a:r>
          </a:p>
          <a:p>
            <a:pPr lvl="1"/>
            <a:r>
              <a:rPr lang="en-US" sz="2400" dirty="0"/>
              <a:t>Counters are initialized to 0 when SQL Server service restarts</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638896"/>
            <a:ext cx="10880725" cy="2899064"/>
          </a:xfrm>
          <a:prstGeom prst="rect">
            <a:avLst/>
          </a:prstGeom>
          <a:ln>
            <a:solidFill>
              <a:schemeClr val="accent1"/>
            </a:solidFill>
          </a:ln>
          <a:effectLst/>
        </p:spPr>
        <p:txBody>
          <a:bodyPr wrap="square">
            <a:no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35DE"/>
                </a:solidFill>
                <a:latin typeface="Consolas" panose="020B0609020204030204" pitchFamily="49" charset="0"/>
              </a:rPr>
              <a:t>Distinct</a:t>
            </a:r>
            <a:r>
              <a:rPr lang="en-US" sz="1400" dirty="0">
                <a:latin typeface="Consolas" panose="020B0609020204030204" pitchFamily="49" charset="0"/>
              </a:rPr>
              <a:t> </a:t>
            </a:r>
            <a:r>
              <a:rPr lang="en-US" sz="1400" dirty="0">
                <a:solidFill>
                  <a:srgbClr val="9201FF"/>
                </a:solidFill>
                <a:latin typeface="Consolas" panose="020B0609020204030204" pitchFamily="49" charset="0"/>
              </a:rPr>
              <a:t>OBJECT_NAME</a:t>
            </a:r>
            <a:r>
              <a:rPr lang="en-US" sz="1400" dirty="0">
                <a:latin typeface="Consolas" panose="020B0609020204030204" pitchFamily="49" charset="0"/>
              </a:rPr>
              <a:t>(</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r>
              <a:rPr lang="en-US" sz="1400" dirty="0">
                <a:latin typeface="Consolas" panose="020B0609020204030204" pitchFamily="49" charset="0"/>
              </a:rPr>
              <a:t>) </a:t>
            </a:r>
            <a:r>
              <a:rPr lang="en-US" sz="1400" dirty="0" err="1">
                <a:latin typeface="Consolas" panose="020B0609020204030204" pitchFamily="49" charset="0"/>
              </a:rPr>
              <a:t>Table_Name</a:t>
            </a:r>
            <a:r>
              <a:rPr lang="en-US" sz="1400" dirty="0">
                <a:latin typeface="Consolas" panose="020B0609020204030204" pitchFamily="49" charset="0"/>
              </a:rPr>
              <a:t>  ,Indx.</a:t>
            </a:r>
            <a:r>
              <a:rPr lang="en-US" sz="1400" dirty="0">
                <a:solidFill>
                  <a:srgbClr val="0A1FE4"/>
                </a:solidFill>
                <a:latin typeface="Consolas" panose="020B0609020204030204" pitchFamily="49" charset="0"/>
              </a:rPr>
              <a:t>name</a:t>
            </a:r>
            <a:r>
              <a:rPr lang="en-US" sz="1400" dirty="0">
                <a:latin typeface="Consolas" panose="020B0609020204030204" pitchFamily="49" charset="0"/>
              </a:rPr>
              <a:t>  </a:t>
            </a:r>
            <a:r>
              <a:rPr lang="en-US" sz="1400" dirty="0" err="1">
                <a:latin typeface="Consolas" panose="020B0609020204030204" pitchFamily="49" charset="0"/>
              </a:rPr>
              <a:t>IndexName</a:t>
            </a:r>
            <a:r>
              <a:rPr lang="en-US" sz="1400" dirty="0">
                <a:latin typeface="Consolas" panose="020B0609020204030204" pitchFamily="49" charset="0"/>
              </a:rPr>
              <a:t>  </a:t>
            </a:r>
          </a:p>
          <a:p>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0A1FE4"/>
                </a:solidFill>
                <a:latin typeface="Consolas" panose="020B0609020204030204" pitchFamily="49" charset="0"/>
              </a:rPr>
              <a:t>type_desc</a:t>
            </a:r>
            <a:r>
              <a:rPr lang="en-US" sz="1400" dirty="0">
                <a:solidFill>
                  <a:srgbClr val="0A1FE4"/>
                </a:solidFill>
                <a:latin typeface="Consolas" panose="020B0609020204030204" pitchFamily="49" charset="0"/>
              </a:rPr>
              <a:t> </a:t>
            </a:r>
            <a:r>
              <a:rPr lang="en-US" sz="1400" dirty="0" err="1">
                <a:latin typeface="Consolas" panose="020B0609020204030204" pitchFamily="49" charset="0"/>
              </a:rPr>
              <a:t>IndexType,Iusg.user_seeks</a:t>
            </a:r>
            <a:r>
              <a:rPr lang="en-US" sz="1400" dirty="0">
                <a:latin typeface="Consolas" panose="020B0609020204030204" pitchFamily="49" charset="0"/>
              </a:rPr>
              <a:t>  </a:t>
            </a:r>
            <a:r>
              <a:rPr lang="en-US" sz="1400" dirty="0" err="1">
                <a:latin typeface="Consolas" panose="020B0609020204030204" pitchFamily="49" charset="0"/>
              </a:rPr>
              <a:t>Seeks,Iusg.user_scans</a:t>
            </a:r>
            <a:r>
              <a:rPr lang="en-US" sz="1400" dirty="0">
                <a:latin typeface="Consolas" panose="020B0609020204030204" pitchFamily="49" charset="0"/>
              </a:rPr>
              <a:t>  Scans </a:t>
            </a:r>
          </a:p>
          <a:p>
            <a:r>
              <a:rPr lang="en-US" sz="1400" dirty="0">
                <a:latin typeface="Consolas" panose="020B0609020204030204" pitchFamily="49" charset="0"/>
              </a:rPr>
              <a:t>	,</a:t>
            </a:r>
            <a:r>
              <a:rPr lang="en-US" sz="1400" dirty="0" err="1">
                <a:latin typeface="Consolas" panose="020B0609020204030204" pitchFamily="49" charset="0"/>
              </a:rPr>
              <a:t>Iusg.user_lookups</a:t>
            </a:r>
            <a:r>
              <a:rPr lang="en-US" sz="1400" dirty="0">
                <a:latin typeface="Consolas" panose="020B0609020204030204" pitchFamily="49" charset="0"/>
              </a:rPr>
              <a:t>  Lookups ,</a:t>
            </a:r>
            <a:r>
              <a:rPr lang="en-US" sz="1400" dirty="0" err="1">
                <a:latin typeface="Consolas" panose="020B0609020204030204" pitchFamily="49" charset="0"/>
              </a:rPr>
              <a:t>Iusg.user_updates</a:t>
            </a:r>
            <a:r>
              <a:rPr lang="en-US" sz="1400" dirty="0">
                <a:latin typeface="Consolas" panose="020B0609020204030204" pitchFamily="49" charset="0"/>
              </a:rPr>
              <a:t> Updates ,</a:t>
            </a:r>
            <a:r>
              <a:rPr lang="en-US" sz="1400" dirty="0" err="1">
                <a:latin typeface="Consolas" panose="020B0609020204030204" pitchFamily="49" charset="0"/>
              </a:rPr>
              <a:t>Iusg.last_user_seek</a:t>
            </a:r>
            <a:r>
              <a:rPr lang="en-US" sz="1400" dirty="0">
                <a:latin typeface="Consolas" panose="020B0609020204030204" pitchFamily="49" charset="0"/>
              </a:rPr>
              <a:t> </a:t>
            </a:r>
            <a:r>
              <a:rPr lang="en-US" sz="1400" dirty="0" err="1">
                <a:latin typeface="Consolas" panose="020B0609020204030204" pitchFamily="49" charset="0"/>
              </a:rPr>
              <a:t>LastSeek</a:t>
            </a:r>
            <a:endParaRPr lang="en-US" sz="1400" dirty="0">
              <a:latin typeface="Consolas" panose="020B0609020204030204" pitchFamily="49" charset="0"/>
            </a:endParaRPr>
          </a:p>
          <a:p>
            <a:r>
              <a:rPr lang="en-US" sz="1400" dirty="0">
                <a:latin typeface="Consolas" panose="020B0609020204030204" pitchFamily="49" charset="0"/>
              </a:rPr>
              <a:t>	,</a:t>
            </a:r>
            <a:r>
              <a:rPr lang="en-US" sz="1400" dirty="0" err="1">
                <a:latin typeface="Consolas" panose="020B0609020204030204" pitchFamily="49" charset="0"/>
              </a:rPr>
              <a:t>Iusg.last_user_scan</a:t>
            </a:r>
            <a:r>
              <a:rPr lang="en-US" sz="1400" dirty="0">
                <a:latin typeface="Consolas" panose="020B0609020204030204" pitchFamily="49" charset="0"/>
              </a:rPr>
              <a:t> </a:t>
            </a:r>
            <a:r>
              <a:rPr lang="en-US" sz="1400" dirty="0" err="1">
                <a:latin typeface="Consolas" panose="020B0609020204030204" pitchFamily="49" charset="0"/>
              </a:rPr>
              <a:t>LastScan,Iusg.last_user_lookup</a:t>
            </a:r>
            <a:r>
              <a:rPr lang="en-US" sz="1400" dirty="0">
                <a:latin typeface="Consolas" panose="020B0609020204030204" pitchFamily="49" charset="0"/>
              </a:rPr>
              <a:t> </a:t>
            </a:r>
            <a:r>
              <a:rPr lang="en-US" sz="1400" dirty="0" err="1">
                <a:latin typeface="Consolas" panose="020B0609020204030204" pitchFamily="49" charset="0"/>
              </a:rPr>
              <a:t>LastLookup</a:t>
            </a:r>
            <a:r>
              <a:rPr lang="en-US" sz="1400" dirty="0">
                <a:latin typeface="Consolas" panose="020B0609020204030204" pitchFamily="49" charset="0"/>
              </a:rPr>
              <a:t> ,</a:t>
            </a:r>
            <a:r>
              <a:rPr lang="en-US" sz="1400" dirty="0" err="1">
                <a:latin typeface="Consolas" panose="020B0609020204030204" pitchFamily="49" charset="0"/>
              </a:rPr>
              <a:t>Iusg.last_user_update</a:t>
            </a:r>
            <a:r>
              <a:rPr lang="en-US" sz="1400" dirty="0">
                <a:latin typeface="Consolas" panose="020B0609020204030204" pitchFamily="49" charset="0"/>
              </a:rPr>
              <a:t> </a:t>
            </a:r>
            <a:r>
              <a:rPr lang="en-US" sz="1400" dirty="0" err="1">
                <a:latin typeface="Consolas" panose="020B0609020204030204" pitchFamily="49" charset="0"/>
              </a:rPr>
              <a:t>LastUpdate</a:t>
            </a:r>
            <a:endParaRPr lang="en-US" sz="1400" dirty="0">
              <a:latin typeface="Consolas" panose="020B0609020204030204" pitchFamily="49" charset="0"/>
            </a:endParaRPr>
          </a:p>
          <a:p>
            <a:r>
              <a:rPr lang="en-US" sz="1400" dirty="0">
                <a:solidFill>
                  <a:srgbClr val="0035DE"/>
                </a:solidFill>
                <a:latin typeface="Consolas" panose="020B0609020204030204" pitchFamily="49" charset="0"/>
              </a:rPr>
              <a:t>FROM</a:t>
            </a:r>
            <a:r>
              <a:rPr lang="en-US" sz="1400" dirty="0">
                <a:latin typeface="Consolas" panose="020B0609020204030204" pitchFamily="49" charset="0"/>
              </a:rPr>
              <a:t> </a:t>
            </a:r>
          </a:p>
          <a:p>
            <a:r>
              <a:rPr lang="en-US" sz="1400" dirty="0">
                <a:solidFill>
                  <a:schemeClr val="accent4"/>
                </a:solidFill>
                <a:latin typeface="Consolas" panose="020B0609020204030204" pitchFamily="49" charset="0"/>
              </a:rPr>
              <a:t>	SYS.INDEXES </a:t>
            </a:r>
            <a:r>
              <a:rPr lang="en-US" sz="1400" dirty="0" err="1">
                <a:latin typeface="Consolas" panose="020B0609020204030204" pitchFamily="49" charset="0"/>
              </a:rPr>
              <a:t>Indx</a:t>
            </a:r>
            <a:endParaRPr lang="en-US" sz="1400" dirty="0">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INDEX_USAGE_STATS </a:t>
            </a:r>
            <a:r>
              <a:rPr lang="en-US" sz="1400" dirty="0" err="1">
                <a:latin typeface="Consolas" panose="020B0609020204030204" pitchFamily="49" charset="0"/>
              </a:rPr>
              <a:t>Iusg</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Iusg.index_id</a:t>
            </a:r>
            <a:r>
              <a:rPr lang="en-US" sz="1400" dirty="0">
                <a:latin typeface="Consolas" panose="020B0609020204030204" pitchFamily="49" charset="0"/>
              </a:rPr>
              <a:t> = </a:t>
            </a:r>
            <a:r>
              <a:rPr lang="en-US" sz="1400" dirty="0" err="1">
                <a:latin typeface="Consolas" panose="020B0609020204030204" pitchFamily="49" charset="0"/>
              </a:rPr>
              <a:t>Indx.index_id</a:t>
            </a:r>
            <a:r>
              <a:rPr lang="en-US" sz="1400" dirty="0">
                <a:latin typeface="Consolas" panose="020B0609020204030204" pitchFamily="49" charset="0"/>
              </a:rPr>
              <a:t> </a:t>
            </a:r>
            <a:r>
              <a:rPr lang="en-US" sz="1400" dirty="0">
                <a:solidFill>
                  <a:schemeClr val="bg1">
                    <a:lumMod val="50000"/>
                  </a:schemeClr>
                </a:solidFill>
                <a:latin typeface="Consolas" panose="020B0609020204030204" pitchFamily="49" charset="0"/>
              </a:rPr>
              <a:t>AND</a:t>
            </a:r>
            <a:r>
              <a:rPr lang="en-US" sz="1400" dirty="0">
                <a:latin typeface="Consolas" panose="020B0609020204030204" pitchFamily="49" charset="0"/>
              </a:rPr>
              <a:t> </a:t>
            </a:r>
            <a:r>
              <a:rPr lang="en-US" sz="1400" dirty="0" err="1">
                <a:latin typeface="Consolas" panose="020B0609020204030204" pitchFamily="49" charset="0"/>
              </a:rPr>
              <a:t>Iusg.</a:t>
            </a:r>
            <a:r>
              <a:rPr lang="en-US" sz="1400" dirty="0" err="1">
                <a:solidFill>
                  <a:srgbClr val="9201FF"/>
                </a:solidFill>
                <a:latin typeface="Consolas" panose="020B0609020204030204" pitchFamily="49" charset="0"/>
              </a:rPr>
              <a:t>OBJECT_ID</a:t>
            </a:r>
            <a:r>
              <a:rPr lang="en-US" sz="1400" dirty="0">
                <a:solidFill>
                  <a:srgbClr val="9201FF"/>
                </a:solidFill>
                <a:latin typeface="Consolas" panose="020B0609020204030204" pitchFamily="49" charset="0"/>
              </a:rPr>
              <a:t> </a:t>
            </a:r>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endParaRPr lang="en-US" sz="1400" dirty="0">
              <a:solidFill>
                <a:srgbClr val="9201FF"/>
              </a:solidFill>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PARTITION_STATS </a:t>
            </a:r>
            <a:r>
              <a:rPr lang="en-US" sz="1400" dirty="0" err="1">
                <a:latin typeface="Consolas" panose="020B0609020204030204" pitchFamily="49" charset="0"/>
              </a:rPr>
              <a:t>PrtSts</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PrtSts.object_id</a:t>
            </a:r>
            <a:r>
              <a:rPr lang="en-US" sz="1400" dirty="0">
                <a:latin typeface="Consolas" panose="020B0609020204030204" pitchFamily="49" charset="0"/>
              </a:rPr>
              <a:t>=</a:t>
            </a:r>
            <a:r>
              <a:rPr lang="en-US" sz="1400" dirty="0" err="1">
                <a:latin typeface="Consolas" panose="020B0609020204030204" pitchFamily="49" charset="0"/>
              </a:rPr>
              <a:t>Indx.object_id</a:t>
            </a:r>
            <a:endParaRPr lang="en-US" sz="1400" dirty="0">
              <a:latin typeface="Consolas" panose="020B0609020204030204" pitchFamily="49" charset="0"/>
            </a:endParaRPr>
          </a:p>
          <a:p>
            <a:r>
              <a:rPr lang="en-US" sz="1400" dirty="0">
                <a:solidFill>
                  <a:srgbClr val="0A1FE4"/>
                </a:solidFill>
                <a:latin typeface="Consolas" panose="020B0609020204030204" pitchFamily="49" charset="0"/>
              </a:rPr>
              <a:t>WHERE</a:t>
            </a:r>
            <a:r>
              <a:rPr lang="en-US" sz="1400" dirty="0">
                <a:latin typeface="Consolas" panose="020B0609020204030204" pitchFamily="49" charset="0"/>
              </a:rPr>
              <a:t> </a:t>
            </a:r>
          </a:p>
          <a:p>
            <a:r>
              <a:rPr lang="en-US" sz="1400" dirty="0">
                <a:solidFill>
                  <a:srgbClr val="9201FF"/>
                </a:solidFill>
                <a:latin typeface="Consolas" panose="020B0609020204030204" pitchFamily="49" charset="0"/>
              </a:rPr>
              <a:t>	OBJECTPROPERTY</a:t>
            </a:r>
            <a:r>
              <a:rPr lang="en-US" sz="1400" dirty="0">
                <a:latin typeface="Consolas" panose="020B0609020204030204" pitchFamily="49" charset="0"/>
              </a:rPr>
              <a:t>(Indx.</a:t>
            </a:r>
            <a:r>
              <a:rPr lang="en-US" sz="1400" dirty="0">
                <a:solidFill>
                  <a:srgbClr val="9201FF"/>
                </a:solidFill>
                <a:latin typeface="Consolas" panose="020B0609020204030204" pitchFamily="49" charset="0"/>
              </a:rPr>
              <a:t>OBJECT_ID</a:t>
            </a:r>
            <a:r>
              <a:rPr lang="en-US" sz="1400" dirty="0">
                <a:latin typeface="Consolas" panose="020B0609020204030204" pitchFamily="49" charset="0"/>
              </a:rPr>
              <a:t>,'</a:t>
            </a:r>
            <a:r>
              <a:rPr lang="en-US" sz="1400" dirty="0" err="1">
                <a:latin typeface="Consolas" panose="020B0609020204030204" pitchFamily="49" charset="0"/>
              </a:rPr>
              <a:t>IsUserTable</a:t>
            </a:r>
            <a:r>
              <a:rPr lang="en-US" sz="1400" dirty="0">
                <a:latin typeface="Consolas" panose="020B0609020204030204" pitchFamily="49" charset="0"/>
              </a:rPr>
              <a:t>') = 1</a:t>
            </a:r>
            <a:endParaRPr lang="en-US" sz="14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24719884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a:solidFill>
                  <a:srgbClr val="107C10"/>
                </a:solidFill>
              </a:rPr>
              <a:t>sys.dm_db_index_operational_stats </a:t>
            </a:r>
            <a:endParaRPr lang="en-US">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63502"/>
          </a:xfrm>
        </p:spPr>
        <p:txBody>
          <a:bodyPr/>
          <a:lstStyle/>
          <a:p>
            <a:r>
              <a:rPr lang="en-US" dirty="0"/>
              <a:t>Returns information about the lower-level I/O activities</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0880725" cy="2642616"/>
          </a:xfrm>
          <a:prstGeom prst="rect">
            <a:avLst/>
          </a:prstGeom>
          <a:ln>
            <a:solidFill>
              <a:schemeClr val="accent1"/>
            </a:solidFill>
          </a:ln>
          <a:effectLst/>
        </p:spPr>
        <p:txBody>
          <a:bodyPr wrap="square">
            <a:no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latin typeface="Consolas" panose="020B0609020204030204" pitchFamily="49" charset="0"/>
              </a:rPr>
              <a:t>*</a:t>
            </a:r>
          </a:p>
          <a:p>
            <a:r>
              <a:rPr lang="en-US">
                <a:solidFill>
                  <a:srgbClr val="0000FF"/>
                </a:solidFill>
                <a:latin typeface="Consolas" panose="020B0609020204030204" pitchFamily="49" charset="0"/>
              </a:rPr>
              <a:t>FROM </a:t>
            </a:r>
            <a:r>
              <a:rPr lang="en-US">
                <a:latin typeface="Consolas" panose="020B0609020204030204" pitchFamily="49" charset="0"/>
              </a:rPr>
              <a:t>  </a:t>
            </a:r>
          </a:p>
          <a:p>
            <a:r>
              <a:rPr lang="en-US">
                <a:solidFill>
                  <a:schemeClr val="accent4"/>
                </a:solidFill>
                <a:latin typeface="Consolas" panose="020B0609020204030204" pitchFamily="49" charset="0"/>
              </a:rPr>
              <a:t>	SYS.DM_DB_INDEX_OPERATIONAL_STATS </a:t>
            </a:r>
            <a:r>
              <a:rPr lang="en-US">
                <a:latin typeface="Consolas" panose="020B0609020204030204" pitchFamily="49" charset="0"/>
              </a:rPr>
              <a:t>(NULL,NULL,NULL,NULL ) opsts</a:t>
            </a:r>
          </a:p>
          <a:p>
            <a:r>
              <a:rPr lang="en-US">
                <a:solidFill>
                  <a:schemeClr val="bg1">
                    <a:lumMod val="50000"/>
                  </a:schemeClr>
                </a:solidFill>
                <a:latin typeface="Consolas" panose="020B0609020204030204" pitchFamily="49" charset="0"/>
              </a:rPr>
              <a:t>	INNER JOIN </a:t>
            </a:r>
            <a:r>
              <a:rPr lang="en-US">
                <a:latin typeface="Consolas" panose="020B0609020204030204" pitchFamily="49" charset="0"/>
              </a:rPr>
              <a:t>SYS.INDEXES AS Indx</a:t>
            </a:r>
          </a:p>
          <a:p>
            <a:r>
              <a:rPr lang="en-US">
                <a:solidFill>
                  <a:srgbClr val="0A1FE4"/>
                </a:solidFill>
                <a:latin typeface="Consolas" panose="020B0609020204030204" pitchFamily="49" charset="0"/>
              </a:rPr>
              <a:t>		ON</a:t>
            </a:r>
            <a:r>
              <a:rPr lang="en-US">
                <a:latin typeface="Consolas" panose="020B0609020204030204" pitchFamily="49" charset="0"/>
              </a:rPr>
              <a:t> Indx.[OBJECT_ID] = opsts.[OBJECT_ID] </a:t>
            </a:r>
          </a:p>
          <a:p>
            <a:r>
              <a:rPr lang="en-US">
                <a:solidFill>
                  <a:schemeClr val="bg1">
                    <a:lumMod val="50000"/>
                  </a:schemeClr>
                </a:solidFill>
                <a:latin typeface="Consolas" panose="020B0609020204030204" pitchFamily="49" charset="0"/>
              </a:rPr>
              <a:t>		AND</a:t>
            </a:r>
            <a:r>
              <a:rPr lang="en-US">
                <a:latin typeface="Consolas" panose="020B0609020204030204" pitchFamily="49" charset="0"/>
              </a:rPr>
              <a:t> Indx.INDEX_ID = opsts.INDEX_ID </a:t>
            </a:r>
          </a:p>
          <a:p>
            <a:r>
              <a:rPr lang="en-US">
                <a:solidFill>
                  <a:srgbClr val="0A1FE4"/>
                </a:solidFill>
                <a:latin typeface="Consolas" panose="020B0609020204030204" pitchFamily="49" charset="0"/>
              </a:rPr>
              <a:t>WHERE</a:t>
            </a:r>
            <a:r>
              <a:rPr lang="en-US">
                <a:latin typeface="Consolas" panose="020B0609020204030204" pitchFamily="49" charset="0"/>
              </a:rPr>
              <a:t>  </a:t>
            </a:r>
          </a:p>
          <a:p>
            <a:r>
              <a:rPr lang="en-US">
                <a:solidFill>
                  <a:srgbClr val="9201FF"/>
                </a:solidFill>
                <a:latin typeface="Consolas" panose="020B0609020204030204" pitchFamily="49" charset="0"/>
              </a:rPr>
              <a:t>	OBJECTPROPERTY</a:t>
            </a:r>
            <a:r>
              <a:rPr lang="en-US">
                <a:latin typeface="Consolas" panose="020B0609020204030204" pitchFamily="49" charset="0"/>
              </a:rPr>
              <a:t>(opsts.[</a:t>
            </a:r>
            <a:r>
              <a:rPr lang="en-US">
                <a:solidFill>
                  <a:srgbClr val="9201FF"/>
                </a:solidFill>
                <a:latin typeface="Consolas" panose="020B0609020204030204" pitchFamily="49" charset="0"/>
              </a:rPr>
              <a:t>OBJECT_ID</a:t>
            </a:r>
            <a:r>
              <a:rPr lang="en-US">
                <a:latin typeface="Consolas" panose="020B0609020204030204" pitchFamily="49" charset="0"/>
              </a:rPr>
              <a:t>],'IsUserTable') = 1</a:t>
            </a:r>
            <a:endParaRPr lang="en-US" sz="1800">
              <a:solidFill>
                <a:prstClr val="black"/>
              </a:solidFill>
              <a:latin typeface="Consolas" panose="020B0609020204030204" pitchFamily="49" charset="0"/>
            </a:endParaRPr>
          </a:p>
        </p:txBody>
      </p:sp>
    </p:spTree>
    <p:extLst>
      <p:ext uri="{BB962C8B-B14F-4D97-AF65-F5344CB8AC3E}">
        <p14:creationId xmlns:p14="http://schemas.microsoft.com/office/powerpoint/2010/main" val="16837443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dirty="0" err="1">
                <a:solidFill>
                  <a:srgbClr val="107C10"/>
                </a:solidFill>
              </a:rPr>
              <a:t>sys.dm_db_index_physical_stats</a:t>
            </a:r>
            <a:r>
              <a:rPr lang="en-US" b="1" dirty="0">
                <a:solidFill>
                  <a:srgbClr val="107C10"/>
                </a:solidFill>
              </a:rPr>
              <a:t> </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176886"/>
            <a:ext cx="10880726" cy="4663502"/>
          </a:xfrm>
        </p:spPr>
        <p:txBody>
          <a:bodyPr/>
          <a:lstStyle/>
          <a:p>
            <a:r>
              <a:rPr lang="en-US" b="0" i="0" dirty="0">
                <a:effectLst/>
                <a:latin typeface="Segoe UI" panose="020B0502040204020203" pitchFamily="34" charset="0"/>
              </a:rPr>
              <a:t>Returns size and fragmentation information for the data and indexes of the specified table or view in SQL Server.</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1073909" cy="280656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SCHEMA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chema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able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Index_I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rtition_number</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fragmentation_in_percen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page_space_used_in_percen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indexe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index_physical_stats</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Limite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PS</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P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WHERE </a:t>
            </a:r>
            <a:r>
              <a:rPr lang="en-US" sz="1800" dirty="0" err="1">
                <a:solidFill>
                  <a:srgbClr val="008000"/>
                </a:solidFill>
                <a:latin typeface="Consolas" panose="020B0609020204030204" pitchFamily="49" charset="0"/>
              </a:rPr>
              <a:t>IPS.avg_fragmentation_in_percent</a:t>
            </a:r>
            <a:r>
              <a:rPr lang="en-US" sz="1800" dirty="0">
                <a:solidFill>
                  <a:srgbClr val="008000"/>
                </a:solidFill>
                <a:latin typeface="Consolas" panose="020B0609020204030204" pitchFamily="49" charset="0"/>
              </a:rPr>
              <a:t> &gt;30</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ND </a:t>
            </a:r>
            <a:r>
              <a:rPr lang="en-US" sz="1800" dirty="0" err="1">
                <a:solidFill>
                  <a:srgbClr val="008000"/>
                </a:solidFill>
                <a:latin typeface="Consolas" panose="020B0609020204030204" pitchFamily="49" charset="0"/>
              </a:rPr>
              <a:t>IPS.page_count</a:t>
            </a:r>
            <a:r>
              <a:rPr lang="en-US" sz="1800" dirty="0">
                <a:solidFill>
                  <a:srgbClr val="008000"/>
                </a:solidFill>
                <a:latin typeface="Consolas" panose="020B0609020204030204" pitchFamily="49" charset="0"/>
              </a:rPr>
              <a:t> &gt;1000</a:t>
            </a:r>
            <a:endParaRPr lang="en-US" sz="18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3186696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differences between heap and clustered objects.</a:t>
            </a:r>
          </a:p>
          <a:p>
            <a:r>
              <a:rPr lang="en-US" dirty="0"/>
              <a:t>Describe B-Trees, and why they are beneficial.</a:t>
            </a:r>
          </a:p>
          <a:p>
            <a:r>
              <a:rPr lang="en-US" dirty="0"/>
              <a:t>Understand the differences between clustered and non-clustered indexes.</a:t>
            </a:r>
          </a:p>
          <a:p>
            <a:r>
              <a:rPr lang="en-US" dirty="0"/>
              <a:t>Describe the different methods by which data structures are accessed.</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Index Fragmentation and Maintenance options</a:t>
            </a:r>
          </a:p>
        </p:txBody>
      </p:sp>
      <p:graphicFrame>
        <p:nvGraphicFramePr>
          <p:cNvPr id="3" name="Content Placeholder 2">
            <a:extLst>
              <a:ext uri="{FF2B5EF4-FFF2-40B4-BE49-F238E27FC236}">
                <a16:creationId xmlns:a16="http://schemas.microsoft.com/office/drawing/2014/main" id="{D4E16E19-C7F7-0A94-2992-CE82651F102F}"/>
              </a:ext>
            </a:extLst>
          </p:cNvPr>
          <p:cNvGraphicFramePr>
            <a:graphicFrameLocks noGrp="1"/>
          </p:cNvGraphicFramePr>
          <p:nvPr>
            <p:ph sz="quarter" idx="13"/>
            <p:extLst>
              <p:ext uri="{D42A27DB-BD31-4B8C-83A1-F6EECF244321}">
                <p14:modId xmlns:p14="http://schemas.microsoft.com/office/powerpoint/2010/main" val="2542271043"/>
              </p:ext>
            </p:extLst>
          </p:nvPr>
        </p:nvGraphicFramePr>
        <p:xfrm>
          <a:off x="655637" y="930894"/>
          <a:ext cx="10880726" cy="36666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Table 7">
            <a:extLst>
              <a:ext uri="{FF2B5EF4-FFF2-40B4-BE49-F238E27FC236}">
                <a16:creationId xmlns:a16="http://schemas.microsoft.com/office/drawing/2014/main" id="{34AC8C55-62B7-42B0-A5E2-38B7F90A62F4}"/>
              </a:ext>
            </a:extLst>
          </p:cNvPr>
          <p:cNvGraphicFramePr>
            <a:graphicFrameLocks noGrp="1"/>
          </p:cNvGraphicFramePr>
          <p:nvPr>
            <p:extLst>
              <p:ext uri="{D42A27DB-BD31-4B8C-83A1-F6EECF244321}">
                <p14:modId xmlns:p14="http://schemas.microsoft.com/office/powerpoint/2010/main" val="1392095736"/>
              </p:ext>
            </p:extLst>
          </p:nvPr>
        </p:nvGraphicFramePr>
        <p:xfrm>
          <a:off x="1295400" y="4597551"/>
          <a:ext cx="9601200" cy="1940409"/>
        </p:xfrm>
        <a:graphic>
          <a:graphicData uri="http://schemas.openxmlformats.org/drawingml/2006/table">
            <a:tbl>
              <a:tblPr firstRow="1" bandRow="1">
                <a:tableStyleId>{21E4AEA4-8DFA-4A89-87EB-49C32662AFE0}</a:tableStyleId>
              </a:tblPr>
              <a:tblGrid>
                <a:gridCol w="2971799">
                  <a:extLst>
                    <a:ext uri="{9D8B030D-6E8A-4147-A177-3AD203B41FA5}">
                      <a16:colId xmlns:a16="http://schemas.microsoft.com/office/drawing/2014/main" val="3943042430"/>
                    </a:ext>
                  </a:extLst>
                </a:gridCol>
                <a:gridCol w="3138055">
                  <a:extLst>
                    <a:ext uri="{9D8B030D-6E8A-4147-A177-3AD203B41FA5}">
                      <a16:colId xmlns:a16="http://schemas.microsoft.com/office/drawing/2014/main" val="1952673238"/>
                    </a:ext>
                  </a:extLst>
                </a:gridCol>
                <a:gridCol w="3491346">
                  <a:extLst>
                    <a:ext uri="{9D8B030D-6E8A-4147-A177-3AD203B41FA5}">
                      <a16:colId xmlns:a16="http://schemas.microsoft.com/office/drawing/2014/main" val="427992128"/>
                    </a:ext>
                  </a:extLst>
                </a:gridCol>
              </a:tblGrid>
              <a:tr h="588541">
                <a:tc>
                  <a:txBody>
                    <a:bodyPr/>
                    <a:lstStyle/>
                    <a:p>
                      <a:pPr algn="ctr"/>
                      <a:endParaRPr lang="en-US" dirty="0"/>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lt1"/>
                          </a:solidFill>
                          <a:latin typeface="+mn-lt"/>
                          <a:ea typeface="+mn-ea"/>
                          <a:cs typeface="+mn-cs"/>
                        </a:rPr>
                        <a:t>ALTER</a:t>
                      </a:r>
                      <a:r>
                        <a:rPr lang="en-US" sz="1800" b="1" kern="1200" baseline="0" dirty="0">
                          <a:solidFill>
                            <a:schemeClr val="lt1"/>
                          </a:solidFill>
                          <a:latin typeface="+mn-lt"/>
                          <a:ea typeface="+mn-ea"/>
                          <a:cs typeface="+mn-cs"/>
                        </a:rPr>
                        <a:t> INDEX… REBUILD</a:t>
                      </a:r>
                      <a:endParaRPr lang="en-US" sz="1800" b="1" kern="1200" dirty="0">
                        <a:solidFill>
                          <a:schemeClr val="lt1"/>
                        </a:solidFill>
                        <a:latin typeface="+mn-lt"/>
                        <a:ea typeface="+mn-ea"/>
                        <a:cs typeface="+mn-cs"/>
                      </a:endParaRPr>
                    </a:p>
                    <a:p>
                      <a:pPr algn="ctr"/>
                      <a:endParaRPr lang="en-US" dirty="0"/>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a:solidFill>
                            <a:schemeClr val="lt1"/>
                          </a:solidFill>
                          <a:latin typeface="+mn-lt"/>
                          <a:ea typeface="+mn-ea"/>
                          <a:cs typeface="+mn-cs"/>
                        </a:rPr>
                        <a:t>ALTER</a:t>
                      </a:r>
                      <a:r>
                        <a:rPr lang="en-US" sz="1800" b="1" kern="1200" baseline="0">
                          <a:solidFill>
                            <a:schemeClr val="lt1"/>
                          </a:solidFill>
                          <a:latin typeface="+mn-lt"/>
                          <a:ea typeface="+mn-ea"/>
                          <a:cs typeface="+mn-cs"/>
                        </a:rPr>
                        <a:t> INDEX … REORGANIZE</a:t>
                      </a:r>
                      <a:endParaRPr lang="en-US" sz="1800" b="1" kern="1200">
                        <a:solidFill>
                          <a:schemeClr val="lt1"/>
                        </a:solidFill>
                        <a:latin typeface="+mn-lt"/>
                        <a:ea typeface="+mn-ea"/>
                        <a:cs typeface="+mn-cs"/>
                      </a:endParaRPr>
                    </a:p>
                    <a:p>
                      <a:pPr algn="ctr"/>
                      <a:endParaRPr lang="en-US"/>
                    </a:p>
                  </a:txBody>
                  <a:tcPr marT="0" marB="0"/>
                </a:tc>
                <a:extLst>
                  <a:ext uri="{0D108BD9-81ED-4DB2-BD59-A6C34878D82A}">
                    <a16:rowId xmlns:a16="http://schemas.microsoft.com/office/drawing/2014/main" val="2061229409"/>
                  </a:ext>
                </a:extLst>
              </a:tr>
              <a:tr h="337967">
                <a:tc>
                  <a:txBody>
                    <a:bodyPr/>
                    <a:lstStyle/>
                    <a:p>
                      <a:pPr algn="l"/>
                      <a:r>
                        <a:rPr lang="en-US" sz="2000"/>
                        <a:t>Removes</a:t>
                      </a:r>
                      <a:r>
                        <a:rPr lang="en-US" sz="2000" baseline="0"/>
                        <a:t> fragmentation</a:t>
                      </a:r>
                      <a:endParaRPr lang="en-US" sz="2000"/>
                    </a:p>
                  </a:txBody>
                  <a:tcPr marT="0" marB="0" anchor="ctr"/>
                </a:tc>
                <a:tc>
                  <a:txBody>
                    <a:bodyPr/>
                    <a:lstStyle/>
                    <a:p>
                      <a:pPr algn="ctr"/>
                      <a:r>
                        <a:rPr lang="en-US" b="1"/>
                        <a:t>X</a:t>
                      </a:r>
                    </a:p>
                  </a:txBody>
                  <a:tcPr marT="0" marB="0"/>
                </a:tc>
                <a:tc>
                  <a:txBody>
                    <a:bodyPr/>
                    <a:lstStyle/>
                    <a:p>
                      <a:pPr algn="ctr"/>
                      <a:r>
                        <a:rPr lang="en-US" b="1"/>
                        <a:t>X</a:t>
                      </a:r>
                    </a:p>
                  </a:txBody>
                  <a:tcPr marT="0" marB="0"/>
                </a:tc>
                <a:extLst>
                  <a:ext uri="{0D108BD9-81ED-4DB2-BD59-A6C34878D82A}">
                    <a16:rowId xmlns:a16="http://schemas.microsoft.com/office/drawing/2014/main" val="2526324830"/>
                  </a:ext>
                </a:extLst>
              </a:tr>
              <a:tr h="337967">
                <a:tc>
                  <a:txBody>
                    <a:bodyPr/>
                    <a:lstStyle/>
                    <a:p>
                      <a:pPr algn="l"/>
                      <a:r>
                        <a:rPr lang="en-US" sz="2000" dirty="0"/>
                        <a:t>Removes free space</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3904632311"/>
                  </a:ext>
                </a:extLst>
              </a:tr>
              <a:tr h="337967">
                <a:tc>
                  <a:txBody>
                    <a:bodyPr/>
                    <a:lstStyle/>
                    <a:p>
                      <a:pPr algn="l"/>
                      <a:r>
                        <a:rPr lang="en-US" sz="2000"/>
                        <a:t>Resets fill factor</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1568363117"/>
                  </a:ext>
                </a:extLst>
              </a:tr>
              <a:tr h="337967">
                <a:tc>
                  <a:txBody>
                    <a:bodyPr/>
                    <a:lstStyle/>
                    <a:p>
                      <a:pPr algn="l"/>
                      <a:r>
                        <a:rPr lang="en-US" sz="2000" dirty="0"/>
                        <a:t>Updates</a:t>
                      </a:r>
                      <a:r>
                        <a:rPr lang="en-US" sz="2000" baseline="0" dirty="0"/>
                        <a:t> statistics</a:t>
                      </a:r>
                      <a:endParaRPr lang="en-US" sz="2000" dirty="0"/>
                    </a:p>
                  </a:txBody>
                  <a:tcPr marT="0" marB="0" anchor="ctr"/>
                </a:tc>
                <a:tc>
                  <a:txBody>
                    <a:bodyPr/>
                    <a:lstStyle/>
                    <a:p>
                      <a:pPr algn="ctr"/>
                      <a:r>
                        <a:rPr lang="en-US" b="1" dirty="0"/>
                        <a:t>X</a:t>
                      </a:r>
                    </a:p>
                  </a:txBody>
                  <a:tcPr marT="0" marB="0"/>
                </a:tc>
                <a:tc>
                  <a:txBody>
                    <a:bodyPr/>
                    <a:lstStyle/>
                    <a:p>
                      <a:pPr algn="ctr"/>
                      <a:endParaRPr lang="en-US" dirty="0"/>
                    </a:p>
                  </a:txBody>
                  <a:tcPr marT="0" marB="0"/>
                </a:tc>
                <a:extLst>
                  <a:ext uri="{0D108BD9-81ED-4DB2-BD59-A6C34878D82A}">
                    <a16:rowId xmlns:a16="http://schemas.microsoft.com/office/drawing/2014/main" val="1090236524"/>
                  </a:ext>
                </a:extLst>
              </a:tr>
            </a:tbl>
          </a:graphicData>
        </a:graphic>
      </p:graphicFrame>
    </p:spTree>
    <p:extLst>
      <p:ext uri="{BB962C8B-B14F-4D97-AF65-F5344CB8AC3E}">
        <p14:creationId xmlns:p14="http://schemas.microsoft.com/office/powerpoint/2010/main" val="37401112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Fill Factor</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an address performance issues due to fragmentation. </a:t>
            </a:r>
          </a:p>
          <a:p>
            <a:endParaRPr lang="en-US"/>
          </a:p>
        </p:txBody>
      </p:sp>
      <p:graphicFrame>
        <p:nvGraphicFramePr>
          <p:cNvPr id="6" name="Content Placeholder 5">
            <a:extLst>
              <a:ext uri="{FF2B5EF4-FFF2-40B4-BE49-F238E27FC236}">
                <a16:creationId xmlns:a16="http://schemas.microsoft.com/office/drawing/2014/main" id="{CB893BEC-7F4D-4425-80FF-BA6D91F13E90}"/>
              </a:ext>
            </a:extLst>
          </p:cNvPr>
          <p:cNvGraphicFramePr>
            <a:graphicFrameLocks noGrp="1"/>
          </p:cNvGraphicFramePr>
          <p:nvPr>
            <p:ph sz="quarter" idx="13"/>
            <p:extLst>
              <p:ext uri="{D42A27DB-BD31-4B8C-83A1-F6EECF244321}">
                <p14:modId xmlns:p14="http://schemas.microsoft.com/office/powerpoint/2010/main" val="567524621"/>
              </p:ext>
            </p:extLst>
          </p:nvPr>
        </p:nvGraphicFramePr>
        <p:xfrm>
          <a:off x="655638" y="1408114"/>
          <a:ext cx="10880726" cy="2782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2E5CD34F-F989-43B8-B265-5903EA6E24D4}"/>
              </a:ext>
            </a:extLst>
          </p:cNvPr>
          <p:cNvSpPr/>
          <p:nvPr/>
        </p:nvSpPr>
        <p:spPr>
          <a:xfrm>
            <a:off x="655637" y="4572000"/>
            <a:ext cx="10880725" cy="1200329"/>
          </a:xfrm>
          <a:prstGeom prst="rect">
            <a:avLst/>
          </a:prstGeom>
          <a:ln>
            <a:solidFill>
              <a:schemeClr val="accent1"/>
            </a:solidFill>
          </a:ln>
          <a:effectLst/>
        </p:spPr>
        <p:txBody>
          <a:bodyPr wrap="square">
            <a:noAutofit/>
          </a:bodyPr>
          <a:lstStyle/>
          <a:p>
            <a:r>
              <a:rPr lang="en-US">
                <a:solidFill>
                  <a:srgbClr val="0000FF"/>
                </a:solidFill>
                <a:latin typeface="Consolas" panose="020B0609020204030204" pitchFamily="49" charset="0"/>
              </a:rPr>
              <a:t>ALT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INDEX</a:t>
            </a:r>
            <a:r>
              <a:rPr lang="en-US">
                <a:solidFill>
                  <a:srgbClr val="000000"/>
                </a:solidFill>
                <a:latin typeface="Consolas" panose="020B0609020204030204" pitchFamily="49" charset="0"/>
              </a:rPr>
              <a:t> [pk_bigProduct] </a:t>
            </a:r>
          </a:p>
          <a:p>
            <a:r>
              <a:rPr lang="en-US">
                <a:solidFill>
                  <a:srgbClr val="0000FF"/>
                </a:solidFill>
                <a:latin typeface="Consolas" panose="020B0609020204030204" pitchFamily="49" charset="0"/>
              </a:rPr>
              <a:t>ON</a:t>
            </a:r>
            <a:r>
              <a:rPr lang="en-US">
                <a:solidFill>
                  <a:srgbClr val="000000"/>
                </a:solidFill>
                <a:latin typeface="Consolas" panose="020B0609020204030204" pitchFamily="49" charset="0"/>
              </a:rPr>
              <a:t> [dbo]</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gProduct] </a:t>
            </a:r>
          </a:p>
          <a:p>
            <a:r>
              <a:rPr lang="en-US">
                <a:solidFill>
                  <a:srgbClr val="0000FF"/>
                </a:solidFill>
                <a:latin typeface="Consolas" panose="020B0609020204030204" pitchFamily="49" charset="0"/>
              </a:rPr>
              <a:t>REBUIL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PAD_INDEX = ON, </a:t>
            </a:r>
            <a:r>
              <a:rPr lang="en-US">
                <a:solidFill>
                  <a:srgbClr val="0000FF"/>
                </a:solidFill>
                <a:latin typeface="Consolas" panose="020B0609020204030204" pitchFamily="49" charset="0"/>
              </a:rPr>
              <a:t>FILLFACTO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90</a:t>
            </a:r>
            <a:r>
              <a:rPr lang="en-US">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18685199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Reducing fragmentation</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nvPr>
        </p:nvGraphicFramePr>
        <p:xfrm>
          <a:off x="655638" y="1408114"/>
          <a:ext cx="10545762" cy="3008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245401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issing Index Recommendations</a:t>
            </a:r>
          </a:p>
        </p:txBody>
      </p:sp>
      <p:graphicFrame>
        <p:nvGraphicFramePr>
          <p:cNvPr id="7" name="Content Placeholder 6">
            <a:extLst>
              <a:ext uri="{FF2B5EF4-FFF2-40B4-BE49-F238E27FC236}">
                <a16:creationId xmlns:a16="http://schemas.microsoft.com/office/drawing/2014/main" id="{AA8484F7-1E30-4B5D-BB1E-6DFBAC6B40EA}"/>
              </a:ext>
            </a:extLst>
          </p:cNvPr>
          <p:cNvGraphicFramePr>
            <a:graphicFrameLocks noGrp="1"/>
          </p:cNvGraphicFramePr>
          <p:nvPr>
            <p:ph sz="quarter" idx="13"/>
            <p:extLst>
              <p:ext uri="{D42A27DB-BD31-4B8C-83A1-F6EECF244321}">
                <p14:modId xmlns:p14="http://schemas.microsoft.com/office/powerpoint/2010/main" val="1208129076"/>
              </p:ext>
            </p:extLst>
          </p:nvPr>
        </p:nvGraphicFramePr>
        <p:xfrm>
          <a:off x="655638" y="1023257"/>
          <a:ext cx="10880726" cy="2253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882E0E9F-DC97-4918-983A-E497BEB59C9E}"/>
              </a:ext>
            </a:extLst>
          </p:cNvPr>
          <p:cNvPicPr>
            <a:picLocks noChangeAspect="1"/>
          </p:cNvPicPr>
          <p:nvPr/>
        </p:nvPicPr>
        <p:blipFill>
          <a:blip r:embed="rId8"/>
          <a:stretch>
            <a:fillRect/>
          </a:stretch>
        </p:blipFill>
        <p:spPr>
          <a:xfrm>
            <a:off x="2449286" y="3679371"/>
            <a:ext cx="7086599" cy="25146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8610983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Choosing Indexes </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extLst>
              <p:ext uri="{D42A27DB-BD31-4B8C-83A1-F6EECF244321}">
                <p14:modId xmlns:p14="http://schemas.microsoft.com/office/powerpoint/2010/main" val="1176526715"/>
              </p:ext>
            </p:extLst>
          </p:nvPr>
        </p:nvGraphicFramePr>
        <p:xfrm>
          <a:off x="655638" y="1612301"/>
          <a:ext cx="6126162" cy="4051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2584858B-A28D-4297-9168-CADBAAF75F05}"/>
              </a:ext>
            </a:extLst>
          </p:cNvPr>
          <p:cNvGrpSpPr/>
          <p:nvPr/>
        </p:nvGrpSpPr>
        <p:grpSpPr>
          <a:xfrm>
            <a:off x="7039082" y="2286178"/>
            <a:ext cx="4648200" cy="3007957"/>
            <a:chOff x="8034647" y="2492643"/>
            <a:chExt cx="3547753" cy="2420314"/>
          </a:xfrm>
        </p:grpSpPr>
        <p:pic>
          <p:nvPicPr>
            <p:cNvPr id="8" name="Picture 7">
              <a:extLst>
                <a:ext uri="{FF2B5EF4-FFF2-40B4-BE49-F238E27FC236}">
                  <a16:creationId xmlns:a16="http://schemas.microsoft.com/office/drawing/2014/main" id="{E7138BBA-7882-48EF-9E20-858F6DBE6E32}"/>
                </a:ext>
              </a:extLst>
            </p:cNvPr>
            <p:cNvPicPr>
              <a:picLocks noChangeAspect="1"/>
            </p:cNvPicPr>
            <p:nvPr/>
          </p:nvPicPr>
          <p:blipFill>
            <a:blip r:embed="rId8"/>
            <a:stretch>
              <a:fillRect/>
            </a:stretch>
          </p:blipFill>
          <p:spPr>
            <a:xfrm>
              <a:off x="8050006" y="2743201"/>
              <a:ext cx="3532394" cy="2169756"/>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4786AFEE-7D51-4218-A7ED-26AAF44BF9D4}"/>
                </a:ext>
              </a:extLst>
            </p:cNvPr>
            <p:cNvPicPr>
              <a:picLocks noChangeAspect="1"/>
            </p:cNvPicPr>
            <p:nvPr/>
          </p:nvPicPr>
          <p:blipFill>
            <a:blip r:embed="rId9"/>
            <a:stretch>
              <a:fillRect/>
            </a:stretch>
          </p:blipFill>
          <p:spPr>
            <a:xfrm>
              <a:off x="8034647" y="2492643"/>
              <a:ext cx="1981214" cy="223839"/>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39223787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0C0"/>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Analyzing Index Usage</a:t>
            </a:r>
          </a:p>
          <a:p>
            <a:r>
              <a:rPr lang="en-US"/>
              <a:t>Show how index usage patterns can help identify index and query improvement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912230581"/>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Index Mainten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Identifying and removing physical index fragmentation</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725246263"/>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844966639"/>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654439074"/>
              </p:ext>
            </p:extLst>
          </p:nvPr>
        </p:nvGraphicFramePr>
        <p:xfrm>
          <a:off x="655638" y="1408113"/>
          <a:ext cx="10880725" cy="30911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72909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an Index?</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115823110"/>
              </p:ext>
            </p:extLst>
          </p:nvPr>
        </p:nvGraphicFramePr>
        <p:xfrm>
          <a:off x="-142188" y="1499952"/>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See the source image">
            <a:extLst>
              <a:ext uri="{FF2B5EF4-FFF2-40B4-BE49-F238E27FC236}">
                <a16:creationId xmlns:a16="http://schemas.microsoft.com/office/drawing/2014/main" id="{8BA41D22-B8D8-6639-85D9-9960066251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11151" y="1550533"/>
            <a:ext cx="5725212" cy="45214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470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SARGability?</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4232865061"/>
              </p:ext>
            </p:extLst>
          </p:nvPr>
        </p:nvGraphicFramePr>
        <p:xfrm>
          <a:off x="20425" y="1466959"/>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3">
            <a:extLst>
              <a:ext uri="{FF2B5EF4-FFF2-40B4-BE49-F238E27FC236}">
                <a16:creationId xmlns:a16="http://schemas.microsoft.com/office/drawing/2014/main" id="{C2382317-9B10-47B8-B7C9-2FF2A2F5E50F}"/>
              </a:ext>
            </a:extLst>
          </p:cNvPr>
          <p:cNvPicPr>
            <a:picLocks noChangeAspect="1"/>
          </p:cNvPicPr>
          <p:nvPr/>
        </p:nvPicPr>
        <p:blipFill rotWithShape="1">
          <a:blip r:embed="rId8">
            <a:extLst>
              <a:ext uri="{28A0092B-C50C-407E-A947-70E740481C1C}">
                <a14:useLocalDpi xmlns:a14="http://schemas.microsoft.com/office/drawing/2010/main" val="0"/>
              </a:ext>
            </a:extLst>
          </a:blip>
          <a:srcRect b="23125"/>
          <a:stretch/>
        </p:blipFill>
        <p:spPr>
          <a:xfrm>
            <a:off x="6248400" y="1466959"/>
            <a:ext cx="4572000" cy="45720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96647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How Data is Stored in Data Pages</a:t>
            </a:r>
          </a:p>
        </p:txBody>
      </p:sp>
      <p:grpSp>
        <p:nvGrpSpPr>
          <p:cNvPr id="6" name="Group 5">
            <a:extLst>
              <a:ext uri="{FF2B5EF4-FFF2-40B4-BE49-F238E27FC236}">
                <a16:creationId xmlns:a16="http://schemas.microsoft.com/office/drawing/2014/main" id="{1BED7946-3E10-0A0D-536E-B1544484F13D}"/>
              </a:ext>
            </a:extLst>
          </p:cNvPr>
          <p:cNvGrpSpPr/>
          <p:nvPr/>
        </p:nvGrpSpPr>
        <p:grpSpPr>
          <a:xfrm>
            <a:off x="283545" y="666580"/>
            <a:ext cx="11198578" cy="5685150"/>
            <a:chOff x="466910" y="881863"/>
            <a:chExt cx="9332697" cy="5685150"/>
          </a:xfrm>
        </p:grpSpPr>
        <p:sp>
          <p:nvSpPr>
            <p:cNvPr id="58" name="TextBox 57"/>
            <p:cNvSpPr txBox="1"/>
            <p:nvPr/>
          </p:nvSpPr>
          <p:spPr>
            <a:xfrm>
              <a:off x="7062883" y="3949465"/>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Clustered Index</a:t>
              </a:r>
            </a:p>
          </p:txBody>
        </p:sp>
        <p:sp>
          <p:nvSpPr>
            <p:cNvPr id="9" name="TextBox 8"/>
            <p:cNvSpPr txBox="1"/>
            <p:nvPr/>
          </p:nvSpPr>
          <p:spPr>
            <a:xfrm>
              <a:off x="466910" y="4220311"/>
              <a:ext cx="5787133" cy="15696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41" name="TextBox 40"/>
            <p:cNvSpPr txBox="1"/>
            <p:nvPr/>
          </p:nvSpPr>
          <p:spPr>
            <a:xfrm>
              <a:off x="7006438" y="881863"/>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Heap</a:t>
              </a:r>
            </a:p>
          </p:txBody>
        </p:sp>
        <p:sp>
          <p:nvSpPr>
            <p:cNvPr id="68" name="TextBox 67"/>
            <p:cNvSpPr txBox="1"/>
            <p:nvPr/>
          </p:nvSpPr>
          <p:spPr>
            <a:xfrm>
              <a:off x="466911" y="1697006"/>
              <a:ext cx="5787133" cy="120032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pic>
          <p:nvPicPr>
            <p:cNvPr id="3" name="Picture 2">
              <a:extLst>
                <a:ext uri="{FF2B5EF4-FFF2-40B4-BE49-F238E27FC236}">
                  <a16:creationId xmlns:a16="http://schemas.microsoft.com/office/drawing/2014/main" id="{4504DE05-4E33-4C5E-6AD6-C35C5B4F718A}"/>
                </a:ext>
              </a:extLst>
            </p:cNvPr>
            <p:cNvPicPr>
              <a:picLocks noChangeAspect="1"/>
            </p:cNvPicPr>
            <p:nvPr/>
          </p:nvPicPr>
          <p:blipFill>
            <a:blip r:embed="rId3"/>
            <a:stretch>
              <a:fillRect/>
            </a:stretch>
          </p:blipFill>
          <p:spPr>
            <a:xfrm>
              <a:off x="6665445" y="1350835"/>
              <a:ext cx="3134162" cy="2095792"/>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E7DAB2AF-0958-20F3-4F0C-09F386578B56}"/>
                </a:ext>
              </a:extLst>
            </p:cNvPr>
            <p:cNvPicPr>
              <a:picLocks noChangeAspect="1"/>
            </p:cNvPicPr>
            <p:nvPr/>
          </p:nvPicPr>
          <p:blipFill>
            <a:blip r:embed="rId4"/>
            <a:stretch>
              <a:fillRect/>
            </a:stretch>
          </p:blipFill>
          <p:spPr>
            <a:xfrm>
              <a:off x="6665445" y="4418437"/>
              <a:ext cx="3134162" cy="2148576"/>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150493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eap</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A heap is a table without a clustered index</a:t>
            </a:r>
          </a:p>
        </p:txBody>
      </p:sp>
      <p:graphicFrame>
        <p:nvGraphicFramePr>
          <p:cNvPr id="5" name="Content Placeholder 4">
            <a:extLst>
              <a:ext uri="{FF2B5EF4-FFF2-40B4-BE49-F238E27FC236}">
                <a16:creationId xmlns:a16="http://schemas.microsoft.com/office/drawing/2014/main" id="{B4B3A3A5-9D01-4F4F-AACF-3434015E1C8E}"/>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581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10.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2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3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8.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9.xml><?xml version="1.0" encoding="utf-8"?>
<a:theme xmlns:a="http://schemas.openxmlformats.org/drawingml/2006/main" name="1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21" ma:contentTypeDescription="Create a new document." ma:contentTypeScope="" ma:versionID="a9b2358855b82257db95b19787129d87">
  <xsd:schema xmlns:xsd="http://www.w3.org/2001/XMLSchema" xmlns:xs="http://www.w3.org/2001/XMLSchema" xmlns:p="http://schemas.microsoft.com/office/2006/metadata/properties" xmlns:ns1="http://schemas.microsoft.com/sharepoint/v3" xmlns:ns2="0b15a96f-9efd-4f0c-b199-c53b2a01cb9d" xmlns:ns3="b66b6bb9-0c3b-4baf-b7e0-24038b18f231" xmlns:ns4="230e9df3-be65-4c73-a93b-d1236ebd677e" targetNamespace="http://schemas.microsoft.com/office/2006/metadata/properties" ma:root="true" ma:fieldsID="2c0f013f39d6c1718ab004287565bd7f" ns1:_="" ns2:_="" ns3:_="" ns4:_="">
    <xsd:import namespace="http://schemas.microsoft.com/sharepoint/v3"/>
    <xsd:import namespace="0b15a96f-9efd-4f0c-b199-c53b2a01cb9d"/>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b15a96f-9efd-4f0c-b199-c53b2a01cb9d">
      <Terms xmlns="http://schemas.microsoft.com/office/infopath/2007/PartnerControls"/>
    </lcf76f155ced4ddcb4097134ff3c332f>
    <_Flow_SignoffStatus xmlns="0b15a96f-9efd-4f0c-b199-c53b2a01cb9d" xsi:nil="true"/>
    <TaxCatchAll xmlns="230e9df3-be65-4c73-a93b-d1236ebd677e" xsi:nil="true"/>
  </documentManagement>
</p:properties>
</file>

<file path=customXml/itemProps1.xml><?xml version="1.0" encoding="utf-8"?>
<ds:datastoreItem xmlns:ds="http://schemas.openxmlformats.org/officeDocument/2006/customXml" ds:itemID="{4C04CDDE-2D6B-4F45-8A75-E18007E562B8}">
  <ds:schemaRefs>
    <ds:schemaRef ds:uri="Strauss.PersonalizationDefinition"/>
  </ds:schemaRefs>
</ds:datastoreItem>
</file>

<file path=customXml/itemProps10.xml><?xml version="1.0" encoding="utf-8"?>
<ds:datastoreItem xmlns:ds="http://schemas.openxmlformats.org/officeDocument/2006/customXml" ds:itemID="{7C42A160-080E-4178-8FDB-B5422D4D778A}">
  <ds:schemaRefs>
    <ds:schemaRef ds:uri="Strauss.PersonalizationDefinition"/>
  </ds:schemaRefs>
</ds:datastoreItem>
</file>

<file path=customXml/itemProps11.xml><?xml version="1.0" encoding="utf-8"?>
<ds:datastoreItem xmlns:ds="http://schemas.openxmlformats.org/officeDocument/2006/customXml" ds:itemID="{C5285313-F55F-42C2-BF9A-066CABB51CDB}">
  <ds:schemaRefs>
    <ds:schemaRef ds:uri="Strauss.PersonalizationDefinition"/>
  </ds:schemaRefs>
</ds:datastoreItem>
</file>

<file path=customXml/itemProps12.xml><?xml version="1.0" encoding="utf-8"?>
<ds:datastoreItem xmlns:ds="http://schemas.openxmlformats.org/officeDocument/2006/customXml" ds:itemID="{35A184F6-9A4D-432E-BD2E-8543C142498D}">
  <ds:schemaRefs>
    <ds:schemaRef ds:uri="Strauss.PersonalizationDefinition"/>
  </ds:schemaRefs>
</ds:datastoreItem>
</file>

<file path=customXml/itemProps13.xml><?xml version="1.0" encoding="utf-8"?>
<ds:datastoreItem xmlns:ds="http://schemas.openxmlformats.org/officeDocument/2006/customXml" ds:itemID="{CBD71ECD-CA37-4EE4-B0D6-F7204A6C0F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CD086AF5-CCD3-41C8-B98A-2B159789D38E}">
  <ds:schemaRefs>
    <ds:schemaRef ds:uri="Strauss.PersonalizationDefinition"/>
  </ds:schemaRefs>
</ds:datastoreItem>
</file>

<file path=customXml/itemProps15.xml><?xml version="1.0" encoding="utf-8"?>
<ds:datastoreItem xmlns:ds="http://schemas.openxmlformats.org/officeDocument/2006/customXml" ds:itemID="{EBCC33FC-94BB-4B1D-A4C6-D2E6A3A4B1FD}">
  <ds:schemaRefs>
    <ds:schemaRef ds:uri="Strauss.PersonalizationDefinition"/>
  </ds:schemaRefs>
</ds:datastoreItem>
</file>

<file path=customXml/itemProps16.xml><?xml version="1.0" encoding="utf-8"?>
<ds:datastoreItem xmlns:ds="http://schemas.openxmlformats.org/officeDocument/2006/customXml" ds:itemID="{75C05EC8-D295-4080-807A-6EA8C339A657}">
  <ds:schemaRefs>
    <ds:schemaRef ds:uri="Strauss.PersonalizationDefinition"/>
  </ds:schemaRefs>
</ds:datastoreItem>
</file>

<file path=customXml/itemProps17.xml><?xml version="1.0" encoding="utf-8"?>
<ds:datastoreItem xmlns:ds="http://schemas.openxmlformats.org/officeDocument/2006/customXml" ds:itemID="{9EEC7FED-AC7D-45C9-8F29-C2C8A7233C3D}">
  <ds:schemaRefs>
    <ds:schemaRef ds:uri="Strauss.PersonalizationDefinition"/>
  </ds:schemaRefs>
</ds:datastoreItem>
</file>

<file path=customXml/itemProps18.xml><?xml version="1.0" encoding="utf-8"?>
<ds:datastoreItem xmlns:ds="http://schemas.openxmlformats.org/officeDocument/2006/customXml" ds:itemID="{FDF350C7-94E8-4D0F-AE22-38F437380DED}">
  <ds:schemaRefs>
    <ds:schemaRef ds:uri="Strauss.PersonalizationDefinition"/>
  </ds:schemaRefs>
</ds:datastoreItem>
</file>

<file path=customXml/itemProps19.xml><?xml version="1.0" encoding="utf-8"?>
<ds:datastoreItem xmlns:ds="http://schemas.openxmlformats.org/officeDocument/2006/customXml" ds:itemID="{5319EDF9-1291-4762-B099-14F0AC870E88}">
  <ds:schemaRefs>
    <ds:schemaRef ds:uri="Strauss.PersonalizationDefinition"/>
  </ds:schemaRefs>
</ds:datastoreItem>
</file>

<file path=customXml/itemProps2.xml><?xml version="1.0" encoding="utf-8"?>
<ds:datastoreItem xmlns:ds="http://schemas.openxmlformats.org/officeDocument/2006/customXml" ds:itemID="{9CFE9A22-C3CB-45B7-B365-FE59FD6BB66B}">
  <ds:schemaRefs>
    <ds:schemaRef ds:uri="Strauss.PersonalizationDefinition"/>
  </ds:schemaRefs>
</ds:datastoreItem>
</file>

<file path=customXml/itemProps3.xml><?xml version="1.0" encoding="utf-8"?>
<ds:datastoreItem xmlns:ds="http://schemas.openxmlformats.org/officeDocument/2006/customXml" ds:itemID="{8A4789B3-563F-4B20-AF11-A45A6247B950}">
  <ds:schemaRefs>
    <ds:schemaRef ds:uri="Strauss.PersonalizationDefinition"/>
  </ds:schemaRefs>
</ds:datastoreItem>
</file>

<file path=customXml/itemProps4.xml><?xml version="1.0" encoding="utf-8"?>
<ds:datastoreItem xmlns:ds="http://schemas.openxmlformats.org/officeDocument/2006/customXml" ds:itemID="{603CF496-08E3-44D4-B74B-01FF4DF09DAC}">
  <ds:schemaRefs>
    <ds:schemaRef ds:uri="Strauss.PersonalizationDefinition"/>
  </ds:schemaRefs>
</ds:datastoreItem>
</file>

<file path=customXml/itemProps5.xml><?xml version="1.0" encoding="utf-8"?>
<ds:datastoreItem xmlns:ds="http://schemas.openxmlformats.org/officeDocument/2006/customXml" ds:itemID="{928E6375-F6D6-4C6C-ABC7-8A9CB09E61CB}">
  <ds:schemaRefs>
    <ds:schemaRef ds:uri="Strauss.PersonalizationDefinition"/>
  </ds:schemaRefs>
</ds:datastoreItem>
</file>

<file path=customXml/itemProps6.xml><?xml version="1.0" encoding="utf-8"?>
<ds:datastoreItem xmlns:ds="http://schemas.openxmlformats.org/officeDocument/2006/customXml" ds:itemID="{B7A1BD8C-60EE-4FF0-883B-580348AC097E}">
  <ds:schemaRefs>
    <ds:schemaRef ds:uri="Strauss.PersonalizationDefinition"/>
  </ds:schemaRefs>
</ds:datastoreItem>
</file>

<file path=customXml/itemProps7.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8.xml><?xml version="1.0" encoding="utf-8"?>
<ds:datastoreItem xmlns:ds="http://schemas.openxmlformats.org/officeDocument/2006/customXml" ds:itemID="{9B21648A-7D09-4856-A479-C7C8A5A2F972}">
  <ds:schemaRefs>
    <ds:schemaRef ds:uri="Strauss.PersonalizationDefinition"/>
  </ds:schemaRefs>
</ds:datastoreItem>
</file>

<file path=customXml/itemProps9.xml><?xml version="1.0" encoding="utf-8"?>
<ds:datastoreItem xmlns:ds="http://schemas.openxmlformats.org/officeDocument/2006/customXml" ds:itemID="{29401FDA-B3A3-44C9-A0D5-0403CEE244B7}">
  <ds:schemaRefs>
    <ds:schemaRef ds:uri="0b15a96f-9efd-4f0c-b199-c53b2a01cb9d"/>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 ds:uri="http://schemas.openxmlformats.org/package/2006/metadata/core-properties"/>
    <ds:schemaRef ds:uri="http://purl.org/dc/elements/1.1/"/>
    <ds:schemaRef ds:uri="b66b6bb9-0c3b-4baf-b7e0-24038b18f231"/>
    <ds:schemaRef ds:uri="http://schemas.microsoft.com/sharepoint/v3"/>
    <ds:schemaRef ds:uri="http://www.w3.org/XML/1998/namespace"/>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877</TotalTime>
  <Words>11830</Words>
  <Application>Microsoft Office PowerPoint</Application>
  <PresentationFormat>Widescreen</PresentationFormat>
  <Paragraphs>998</Paragraphs>
  <Slides>59</Slides>
  <Notes>52</Notes>
  <HiddenSlides>2</HiddenSlides>
  <MMClips>0</MMClips>
  <ScaleCrop>false</ScaleCrop>
  <HeadingPairs>
    <vt:vector size="6" baseType="variant">
      <vt:variant>
        <vt:lpstr>Fonts Used</vt:lpstr>
      </vt:variant>
      <vt:variant>
        <vt:i4>10</vt:i4>
      </vt:variant>
      <vt:variant>
        <vt:lpstr>Theme</vt:lpstr>
      </vt:variant>
      <vt:variant>
        <vt:i4>9</vt:i4>
      </vt:variant>
      <vt:variant>
        <vt:lpstr>Slide Titles</vt:lpstr>
      </vt:variant>
      <vt:variant>
        <vt:i4>59</vt:i4>
      </vt:variant>
    </vt:vector>
  </HeadingPairs>
  <TitlesOfParts>
    <vt:vector size="78" baseType="lpstr">
      <vt:lpstr>&amp;quot</vt:lpstr>
      <vt:lpstr>Arial</vt:lpstr>
      <vt:lpstr>Calibri Light</vt:lpstr>
      <vt:lpstr>Century Gothic</vt:lpstr>
      <vt:lpstr>Comic Sans MS</vt:lpstr>
      <vt:lpstr>Consolas</vt:lpstr>
      <vt:lpstr>Segoe UI</vt:lpstr>
      <vt:lpstr>Segoe UI Light</vt:lpstr>
      <vt:lpstr>Segoe UI Semibold</vt:lpstr>
      <vt:lpstr>Wingdings</vt:lpstr>
      <vt:lpstr>WHITE TEMPLATE</vt:lpstr>
      <vt:lpstr>Workshop</vt:lpstr>
      <vt:lpstr>1_Workshop</vt:lpstr>
      <vt:lpstr>2_Workshop</vt:lpstr>
      <vt:lpstr>1_Dark Blue</vt:lpstr>
      <vt:lpstr>3_Workshop</vt:lpstr>
      <vt:lpstr>Microsoft 365 PPT Template - 2018</vt:lpstr>
      <vt:lpstr>PASS 2013_SpeakerTemplate_Final</vt:lpstr>
      <vt:lpstr>1_Microsoft 365 PPT Template - 2018</vt:lpstr>
      <vt:lpstr>SQL Server Index Structure</vt:lpstr>
      <vt:lpstr>PowerPoint Presentation</vt:lpstr>
      <vt:lpstr>Learning Units covered in this Module</vt:lpstr>
      <vt:lpstr>Lesson 1: Index Internals </vt:lpstr>
      <vt:lpstr>Objectives</vt:lpstr>
      <vt:lpstr>What is an Index?</vt:lpstr>
      <vt:lpstr>What is SARGability?</vt:lpstr>
      <vt:lpstr>PowerPoint Presentation</vt:lpstr>
      <vt:lpstr>Heap</vt:lpstr>
      <vt:lpstr>Heap Structures</vt:lpstr>
      <vt:lpstr>Clustered Indexes</vt:lpstr>
      <vt:lpstr>Clustered Index Structure</vt:lpstr>
      <vt:lpstr>Demonstration</vt:lpstr>
      <vt:lpstr>Non-Clustered Indexes</vt:lpstr>
      <vt:lpstr>Non-Clustered Index Structure</vt:lpstr>
      <vt:lpstr>Non-Clustered Index Structure</vt:lpstr>
      <vt:lpstr>Demonstration</vt:lpstr>
      <vt:lpstr>Clustered vs Nonclustered Indexes</vt:lpstr>
      <vt:lpstr>Comparing Clustered and Non-clustered indexes</vt:lpstr>
      <vt:lpstr>Fragmentation</vt:lpstr>
      <vt:lpstr>Page Splits</vt:lpstr>
      <vt:lpstr>Questions?</vt:lpstr>
      <vt:lpstr>Knowledge Check</vt:lpstr>
      <vt:lpstr>Lesson 2: Index Strategy</vt:lpstr>
      <vt:lpstr>Objectives</vt:lpstr>
      <vt:lpstr>Characteristics of a Good Clustering Key</vt:lpstr>
      <vt:lpstr>Best Practices for Clustered indexes</vt:lpstr>
      <vt:lpstr>Clustered Index vs Primary key considerations</vt:lpstr>
      <vt:lpstr>Non-Clustered Index Strategy</vt:lpstr>
      <vt:lpstr>Bookmark Lookup or RID lookup </vt:lpstr>
      <vt:lpstr>Key Lookup </vt:lpstr>
      <vt:lpstr>Non-Clustered Index with Included Column </vt:lpstr>
      <vt:lpstr>Demonstration</vt:lpstr>
      <vt:lpstr>Single Vs Multi-column indexes</vt:lpstr>
      <vt:lpstr>Multi-Column Indexing Access </vt:lpstr>
      <vt:lpstr>Multi-Column Indexing Access (Seek Predicates) </vt:lpstr>
      <vt:lpstr>Multi-Column Indexing Access (Scan Predicates) </vt:lpstr>
      <vt:lpstr>Demonstration</vt:lpstr>
      <vt:lpstr>The Tipping Point (Seeks vs Scans)</vt:lpstr>
      <vt:lpstr>Demonstration</vt:lpstr>
      <vt:lpstr>Questions?</vt:lpstr>
      <vt:lpstr>Lesson 3: Index Monitoring and Fragmentation</vt:lpstr>
      <vt:lpstr>Objectives</vt:lpstr>
      <vt:lpstr>Why to monitor Index usage</vt:lpstr>
      <vt:lpstr>Clustered Index usage patterns</vt:lpstr>
      <vt:lpstr>Non-Clustered Index usage patterns</vt:lpstr>
      <vt:lpstr>sys.dm_db_index_usage_stats</vt:lpstr>
      <vt:lpstr>sys.dm_db_index_operational_stats </vt:lpstr>
      <vt:lpstr>sys.dm_db_index_physical_stats </vt:lpstr>
      <vt:lpstr>SQL Index Fragmentation and Maintenance options</vt:lpstr>
      <vt:lpstr>Fill Factor</vt:lpstr>
      <vt:lpstr>Reducing fragmentation</vt:lpstr>
      <vt:lpstr>Missing Index Recommendations</vt:lpstr>
      <vt:lpstr>Choosing Indexes </vt:lpstr>
      <vt:lpstr>Demonstration</vt:lpstr>
      <vt:lpstr>Index Maintenance</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Index Structure</dc:title>
  <dc:creator>boB Taylor</dc:creator>
  <cp:lastModifiedBy>John Deardurff</cp:lastModifiedBy>
  <cp:revision>99</cp:revision>
  <dcterms:created xsi:type="dcterms:W3CDTF">2020-03-17T15:54:44Z</dcterms:created>
  <dcterms:modified xsi:type="dcterms:W3CDTF">2024-02-01T16: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